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ngesInfos/changesInfo1.xml" ContentType="application/vnd.ms-powerpoint.changesinfo+xml"/>
  <Override PartName="/ppt/commentAuthors.xml" ContentType="application/vnd.openxmlformats-officedocument.presentationml.commentAuthors+xml"/>
  <Override PartName="/ppt/embeddings/oleObject1.bin" ContentType="application/vnd.openxmlformats-officedocument.oleObject"/>
  <Override PartName="/ppt/embeddings/oleObject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embeddings/oleObject9.bin" ContentType="application/vnd.openxmlformats-officedocument.oleObject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revisionInfo.xml" ContentType="application/vnd.ms-powerpoint.revisioninfo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9"/>
  </p:notesMasterIdLst>
  <p:sldIdLst>
    <p:sldId id="287" r:id="rId3"/>
    <p:sldId id="2145706122" r:id="rId4"/>
    <p:sldId id="2145706131" r:id="rId5"/>
    <p:sldId id="2145706123" r:id="rId6"/>
    <p:sldId id="2145706126" r:id="rId7"/>
    <p:sldId id="2145706134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eza Aditya Permadi" initials="RAP" lastIdx="2" clrIdx="0">
    <p:extLst>
      <p:ext uri="{19B8F6BF-5375-455C-9EA6-DF929625EA0E}">
        <p15:presenceInfo xmlns:p15="http://schemas.microsoft.com/office/powerpoint/2012/main" userId="S::reza_a_permadi1@telkomsel.co.id::8f5c1634-8cc8-4713-b273-7913439e7e2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CF4FD61-6BC2-45E4-BD5D-FA3C30DE13E5}" v="1" dt="2023-01-30T02:08:09.64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9" d="100"/>
          <a:sy n="59" d="100"/>
        </p:scale>
        <p:origin x="940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slideMaster" Target="slideMasters/slideMaster1.xml"/><Relationship Id="rId10" Type="http://schemas.openxmlformats.org/officeDocument/2006/relationships/commentAuthors" Target="commentAuthors.xml"/><Relationship Id="rId11" Type="http://schemas.openxmlformats.org/officeDocument/2006/relationships/presProps" Target="presProps.xml"/><Relationship Id="rId12" Type="http://schemas.openxmlformats.org/officeDocument/2006/relationships/viewProps" Target="viewProps.xml"/><Relationship Id="rId13" Type="http://schemas.openxmlformats.org/officeDocument/2006/relationships/theme" Target="theme/theme1.xml"/><Relationship Id="rId14" Type="http://schemas.openxmlformats.org/officeDocument/2006/relationships/tableStyles" Target="tableStyles.xml"/><Relationship Id="rId15" Type="http://schemas.microsoft.com/office/2016/11/relationships/changesInfo" Target="changesInfos/changesInfo1.xml"/><Relationship Id="rId16" Type="http://schemas.microsoft.com/office/2015/10/relationships/revisionInfo" Target="revisionInfo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Relationship Id="rId9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anley_d_chandra" userId="225be5a7-1db9-44a8-89af-0b6971124d26" providerId="ADAL" clId="{17F2E645-90E8-4746-8F70-CC92FB6FDD58}"/>
    <pc:docChg chg="undo custSel modSld">
      <pc:chgData name="stanley_d_chandra" userId="225be5a7-1db9-44a8-89af-0b6971124d26" providerId="ADAL" clId="{17F2E645-90E8-4746-8F70-CC92FB6FDD58}" dt="2023-01-17T06:45:11.286" v="112" actId="2711"/>
      <pc:docMkLst>
        <pc:docMk/>
      </pc:docMkLst>
      <pc:sldChg chg="addSp delSp modSp mod">
        <pc:chgData name="stanley_d_chandra" userId="225be5a7-1db9-44a8-89af-0b6971124d26" providerId="ADAL" clId="{17F2E645-90E8-4746-8F70-CC92FB6FDD58}" dt="2023-01-11T07:15:03.440" v="4" actId="478"/>
        <pc:sldMkLst>
          <pc:docMk/>
          <pc:sldMk cId="119898235" sldId="2145706125"/>
        </pc:sldMkLst>
        <pc:spChg chg="mod">
          <ac:chgData name="stanley_d_chandra" userId="225be5a7-1db9-44a8-89af-0b6971124d26" providerId="ADAL" clId="{17F2E645-90E8-4746-8F70-CC92FB6FDD58}" dt="2023-01-11T07:04:32.830" v="2" actId="120"/>
          <ac:spMkLst>
            <pc:docMk/>
            <pc:sldMk cId="119898235" sldId="2145706125"/>
            <ac:spMk id="2" creationId="{068114BB-F72F-2949-AF79-ACB2CCCADD59}"/>
          </ac:spMkLst>
        </pc:spChg>
        <pc:graphicFrameChg chg="add del">
          <ac:chgData name="stanley_d_chandra" userId="225be5a7-1db9-44a8-89af-0b6971124d26" providerId="ADAL" clId="{17F2E645-90E8-4746-8F70-CC92FB6FDD58}" dt="2023-01-11T07:15:03.440" v="4" actId="478"/>
          <ac:graphicFrameMkLst>
            <pc:docMk/>
            <pc:sldMk cId="119898235" sldId="2145706125"/>
            <ac:graphicFrameMk id="3" creationId="{93DC2A55-F43C-EBF3-7498-928033883918}"/>
          </ac:graphicFrameMkLst>
        </pc:graphicFrameChg>
      </pc:sldChg>
      <pc:sldChg chg="modSp mod">
        <pc:chgData name="stanley_d_chandra" userId="225be5a7-1db9-44a8-89af-0b6971124d26" providerId="ADAL" clId="{17F2E645-90E8-4746-8F70-CC92FB6FDD58}" dt="2023-01-17T06:37:01.612" v="94" actId="122"/>
        <pc:sldMkLst>
          <pc:docMk/>
          <pc:sldMk cId="2837786506" sldId="2145706126"/>
        </pc:sldMkLst>
        <pc:graphicFrameChg chg="modGraphic">
          <ac:chgData name="stanley_d_chandra" userId="225be5a7-1db9-44a8-89af-0b6971124d26" providerId="ADAL" clId="{17F2E645-90E8-4746-8F70-CC92FB6FDD58}" dt="2023-01-17T06:37:01.612" v="94" actId="122"/>
          <ac:graphicFrameMkLst>
            <pc:docMk/>
            <pc:sldMk cId="2837786506" sldId="2145706126"/>
            <ac:graphicFrameMk id="2" creationId="{7A046C48-1ED3-2343-9301-CD835C857ED7}"/>
          </ac:graphicFrameMkLst>
        </pc:graphicFrameChg>
      </pc:sldChg>
      <pc:sldChg chg="modSp mod">
        <pc:chgData name="stanley_d_chandra" userId="225be5a7-1db9-44a8-89af-0b6971124d26" providerId="ADAL" clId="{17F2E645-90E8-4746-8F70-CC92FB6FDD58}" dt="2023-01-17T06:45:11.286" v="112" actId="2711"/>
        <pc:sldMkLst>
          <pc:docMk/>
          <pc:sldMk cId="361532905" sldId="2145706127"/>
        </pc:sldMkLst>
        <pc:spChg chg="mod">
          <ac:chgData name="stanley_d_chandra" userId="225be5a7-1db9-44a8-89af-0b6971124d26" providerId="ADAL" clId="{17F2E645-90E8-4746-8F70-CC92FB6FDD58}" dt="2023-01-17T06:42:38.663" v="110" actId="1076"/>
          <ac:spMkLst>
            <pc:docMk/>
            <pc:sldMk cId="361532905" sldId="2145706127"/>
            <ac:spMk id="14" creationId="{F3B417FB-5B72-DA42-8FF6-38DD7190CF43}"/>
          </ac:spMkLst>
        </pc:spChg>
        <pc:graphicFrameChg chg="modGraphic">
          <ac:chgData name="stanley_d_chandra" userId="225be5a7-1db9-44a8-89af-0b6971124d26" providerId="ADAL" clId="{17F2E645-90E8-4746-8F70-CC92FB6FDD58}" dt="2023-01-17T06:45:11.286" v="112" actId="2711"/>
          <ac:graphicFrameMkLst>
            <pc:docMk/>
            <pc:sldMk cId="361532905" sldId="2145706127"/>
            <ac:graphicFrameMk id="2" creationId="{29182CCA-BECB-4C86-B849-878A6285AB2D}"/>
          </ac:graphicFrameMkLst>
        </pc:graphicFrameChg>
      </pc:sldChg>
      <pc:sldChg chg="modSp mod">
        <pc:chgData name="stanley_d_chandra" userId="225be5a7-1db9-44a8-89af-0b6971124d26" providerId="ADAL" clId="{17F2E645-90E8-4746-8F70-CC92FB6FDD58}" dt="2023-01-11T06:50:54.934" v="1" actId="1076"/>
        <pc:sldMkLst>
          <pc:docMk/>
          <pc:sldMk cId="435886860" sldId="2145706131"/>
        </pc:sldMkLst>
        <pc:picChg chg="mod">
          <ac:chgData name="stanley_d_chandra" userId="225be5a7-1db9-44a8-89af-0b6971124d26" providerId="ADAL" clId="{17F2E645-90E8-4746-8F70-CC92FB6FDD58}" dt="2023-01-11T06:50:54.934" v="1" actId="1076"/>
          <ac:picMkLst>
            <pc:docMk/>
            <pc:sldMk cId="435886860" sldId="2145706131"/>
            <ac:picMk id="4" creationId="{AA9FEF1D-BE6C-114F-9D68-E5ECC40F0BE0}"/>
          </ac:picMkLst>
        </pc:picChg>
      </pc:sldChg>
      <pc:sldChg chg="addSp delSp modSp mod">
        <pc:chgData name="stanley_d_chandra" userId="225be5a7-1db9-44a8-89af-0b6971124d26" providerId="ADAL" clId="{17F2E645-90E8-4746-8F70-CC92FB6FDD58}" dt="2023-01-17T03:29:00.722" v="30" actId="1076"/>
        <pc:sldMkLst>
          <pc:docMk/>
          <pc:sldMk cId="525386504" sldId="2145706132"/>
        </pc:sldMkLst>
        <pc:spChg chg="del">
          <ac:chgData name="stanley_d_chandra" userId="225be5a7-1db9-44a8-89af-0b6971124d26" providerId="ADAL" clId="{17F2E645-90E8-4746-8F70-CC92FB6FDD58}" dt="2023-01-17T03:28:52.504" v="28" actId="478"/>
          <ac:spMkLst>
            <pc:docMk/>
            <pc:sldMk cId="525386504" sldId="2145706132"/>
            <ac:spMk id="2" creationId="{D4F95FE7-7FB2-234E-8FED-68D811A96D24}"/>
          </ac:spMkLst>
        </pc:spChg>
        <pc:spChg chg="add mod">
          <ac:chgData name="stanley_d_chandra" userId="225be5a7-1db9-44a8-89af-0b6971124d26" providerId="ADAL" clId="{17F2E645-90E8-4746-8F70-CC92FB6FDD58}" dt="2023-01-17T03:29:00.722" v="30" actId="1076"/>
          <ac:spMkLst>
            <pc:docMk/>
            <pc:sldMk cId="525386504" sldId="2145706132"/>
            <ac:spMk id="3" creationId="{D320D635-313B-C8BF-C5E0-255B52E1EC2A}"/>
          </ac:spMkLst>
        </pc:spChg>
        <pc:spChg chg="add del mod">
          <ac:chgData name="stanley_d_chandra" userId="225be5a7-1db9-44a8-89af-0b6971124d26" providerId="ADAL" clId="{17F2E645-90E8-4746-8F70-CC92FB6FDD58}" dt="2023-01-17T03:28:54.190" v="29" actId="478"/>
          <ac:spMkLst>
            <pc:docMk/>
            <pc:sldMk cId="525386504" sldId="2145706132"/>
            <ac:spMk id="5" creationId="{6BA30099-EF61-68F1-D616-B48E2AA1134B}"/>
          </ac:spMkLst>
        </pc:spChg>
      </pc:sldChg>
      <pc:sldChg chg="addSp delSp modSp mod">
        <pc:chgData name="stanley_d_chandra" userId="225be5a7-1db9-44a8-89af-0b6971124d26" providerId="ADAL" clId="{17F2E645-90E8-4746-8F70-CC92FB6FDD58}" dt="2023-01-17T03:31:30.383" v="58" actId="1076"/>
        <pc:sldMkLst>
          <pc:docMk/>
          <pc:sldMk cId="1059088430" sldId="2145706133"/>
        </pc:sldMkLst>
        <pc:spChg chg="del">
          <ac:chgData name="stanley_d_chandra" userId="225be5a7-1db9-44a8-89af-0b6971124d26" providerId="ADAL" clId="{17F2E645-90E8-4746-8F70-CC92FB6FDD58}" dt="2023-01-17T03:31:06.366" v="55" actId="478"/>
          <ac:spMkLst>
            <pc:docMk/>
            <pc:sldMk cId="1059088430" sldId="2145706133"/>
            <ac:spMk id="2" creationId="{D4F95FE7-7FB2-234E-8FED-68D811A96D24}"/>
          </ac:spMkLst>
        </pc:spChg>
        <pc:spChg chg="add mod">
          <ac:chgData name="stanley_d_chandra" userId="225be5a7-1db9-44a8-89af-0b6971124d26" providerId="ADAL" clId="{17F2E645-90E8-4746-8F70-CC92FB6FDD58}" dt="2023-01-17T03:31:30.383" v="58" actId="1076"/>
          <ac:spMkLst>
            <pc:docMk/>
            <pc:sldMk cId="1059088430" sldId="2145706133"/>
            <ac:spMk id="4" creationId="{9EE5340D-A16D-26E2-1E84-D787C8E58FCC}"/>
          </ac:spMkLst>
        </pc:spChg>
        <pc:spChg chg="add del mod">
          <ac:chgData name="stanley_d_chandra" userId="225be5a7-1db9-44a8-89af-0b6971124d26" providerId="ADAL" clId="{17F2E645-90E8-4746-8F70-CC92FB6FDD58}" dt="2023-01-17T03:31:08.487" v="56" actId="478"/>
          <ac:spMkLst>
            <pc:docMk/>
            <pc:sldMk cId="1059088430" sldId="2145706133"/>
            <ac:spMk id="5" creationId="{2451F108-3CE8-E3A9-E873-4C2CA6B2B186}"/>
          </ac:spMkLst>
        </pc:spChg>
      </pc:sldChg>
      <pc:sldChg chg="addSp delSp modSp mod">
        <pc:chgData name="stanley_d_chandra" userId="225be5a7-1db9-44a8-89af-0b6971124d26" providerId="ADAL" clId="{17F2E645-90E8-4746-8F70-CC92FB6FDD58}" dt="2023-01-17T03:31:57.397" v="85" actId="20577"/>
        <pc:sldMkLst>
          <pc:docMk/>
          <pc:sldMk cId="619809436" sldId="2145706135"/>
        </pc:sldMkLst>
        <pc:spChg chg="add del mod">
          <ac:chgData name="stanley_d_chandra" userId="225be5a7-1db9-44a8-89af-0b6971124d26" providerId="ADAL" clId="{17F2E645-90E8-4746-8F70-CC92FB6FDD58}" dt="2023-01-17T03:31:51.446" v="75" actId="478"/>
          <ac:spMkLst>
            <pc:docMk/>
            <pc:sldMk cId="619809436" sldId="2145706135"/>
            <ac:spMk id="3" creationId="{AD63DC50-6226-AB5C-A8B5-52CAA266AAB3}"/>
          </ac:spMkLst>
        </pc:spChg>
        <pc:spChg chg="add mod">
          <ac:chgData name="stanley_d_chandra" userId="225be5a7-1db9-44a8-89af-0b6971124d26" providerId="ADAL" clId="{17F2E645-90E8-4746-8F70-CC92FB6FDD58}" dt="2023-01-17T03:31:57.397" v="85" actId="20577"/>
          <ac:spMkLst>
            <pc:docMk/>
            <pc:sldMk cId="619809436" sldId="2145706135"/>
            <ac:spMk id="6" creationId="{A2297C2C-D039-117F-57B1-B0AC24C7D1F9}"/>
          </ac:spMkLst>
        </pc:spChg>
        <pc:spChg chg="del">
          <ac:chgData name="stanley_d_chandra" userId="225be5a7-1db9-44a8-89af-0b6971124d26" providerId="ADAL" clId="{17F2E645-90E8-4746-8F70-CC92FB6FDD58}" dt="2023-01-17T03:31:49.245" v="74" actId="478"/>
          <ac:spMkLst>
            <pc:docMk/>
            <pc:sldMk cId="619809436" sldId="2145706135"/>
            <ac:spMk id="9" creationId="{B86471EF-A464-4DE1-9E7E-3697F08DE933}"/>
          </ac:spMkLst>
        </pc:spChg>
      </pc:sldChg>
      <pc:sldChg chg="addSp delSp modSp mod">
        <pc:chgData name="stanley_d_chandra" userId="225be5a7-1db9-44a8-89af-0b6971124d26" providerId="ADAL" clId="{17F2E645-90E8-4746-8F70-CC92FB6FDD58}" dt="2023-01-17T03:31:45.466" v="73" actId="20577"/>
        <pc:sldMkLst>
          <pc:docMk/>
          <pc:sldMk cId="249720516" sldId="2145706136"/>
        </pc:sldMkLst>
        <pc:spChg chg="del">
          <ac:chgData name="stanley_d_chandra" userId="225be5a7-1db9-44a8-89af-0b6971124d26" providerId="ADAL" clId="{17F2E645-90E8-4746-8F70-CC92FB6FDD58}" dt="2023-01-17T03:31:36.244" v="59" actId="478"/>
          <ac:spMkLst>
            <pc:docMk/>
            <pc:sldMk cId="249720516" sldId="2145706136"/>
            <ac:spMk id="2" creationId="{D4F95FE7-7FB2-234E-8FED-68D811A96D24}"/>
          </ac:spMkLst>
        </pc:spChg>
        <pc:spChg chg="add del mod">
          <ac:chgData name="stanley_d_chandra" userId="225be5a7-1db9-44a8-89af-0b6971124d26" providerId="ADAL" clId="{17F2E645-90E8-4746-8F70-CC92FB6FDD58}" dt="2023-01-17T03:31:40.846" v="60" actId="478"/>
          <ac:spMkLst>
            <pc:docMk/>
            <pc:sldMk cId="249720516" sldId="2145706136"/>
            <ac:spMk id="4" creationId="{BB1FBA10-B745-1207-89C4-1C4A80013146}"/>
          </ac:spMkLst>
        </pc:spChg>
        <pc:spChg chg="add mod">
          <ac:chgData name="stanley_d_chandra" userId="225be5a7-1db9-44a8-89af-0b6971124d26" providerId="ADAL" clId="{17F2E645-90E8-4746-8F70-CC92FB6FDD58}" dt="2023-01-17T03:31:45.466" v="73" actId="20577"/>
          <ac:spMkLst>
            <pc:docMk/>
            <pc:sldMk cId="249720516" sldId="2145706136"/>
            <ac:spMk id="6" creationId="{94A6D191-369C-FD84-D84F-CE8461FDDB21}"/>
          </ac:spMkLst>
        </pc:spChg>
      </pc:sldChg>
    </pc:docChg>
  </pc:docChgLst>
  <pc:docChgLst>
    <pc:chgData name="stanley_d_chandra" userId="225be5a7-1db9-44a8-89af-0b6971124d26" providerId="ADAL" clId="{2CF4FD61-6BC2-45E4-BD5D-FA3C30DE13E5}"/>
    <pc:docChg chg="undo custSel addSld delSld modSld">
      <pc:chgData name="stanley_d_chandra" userId="225be5a7-1db9-44a8-89af-0b6971124d26" providerId="ADAL" clId="{2CF4FD61-6BC2-45E4-BD5D-FA3C30DE13E5}" dt="2023-01-30T02:14:13.814" v="135" actId="14100"/>
      <pc:docMkLst>
        <pc:docMk/>
      </pc:docMkLst>
      <pc:sldChg chg="delSp modSp mod">
        <pc:chgData name="stanley_d_chandra" userId="225be5a7-1db9-44a8-89af-0b6971124d26" providerId="ADAL" clId="{2CF4FD61-6BC2-45E4-BD5D-FA3C30DE13E5}" dt="2023-01-30T02:01:32.308" v="88" actId="20577"/>
        <pc:sldMkLst>
          <pc:docMk/>
          <pc:sldMk cId="1452811939" sldId="287"/>
        </pc:sldMkLst>
        <pc:spChg chg="mod">
          <ac:chgData name="stanley_d_chandra" userId="225be5a7-1db9-44a8-89af-0b6971124d26" providerId="ADAL" clId="{2CF4FD61-6BC2-45E4-BD5D-FA3C30DE13E5}" dt="2023-01-30T02:01:32.308" v="88" actId="20577"/>
          <ac:spMkLst>
            <pc:docMk/>
            <pc:sldMk cId="1452811939" sldId="287"/>
            <ac:spMk id="7" creationId="{BB3CCCF6-DAD9-472F-B343-23533D8EFD10}"/>
          </ac:spMkLst>
        </pc:spChg>
        <pc:picChg chg="del">
          <ac:chgData name="stanley_d_chandra" userId="225be5a7-1db9-44a8-89af-0b6971124d26" providerId="ADAL" clId="{2CF4FD61-6BC2-45E4-BD5D-FA3C30DE13E5}" dt="2023-01-30T01:58:16.166" v="8" actId="478"/>
          <ac:picMkLst>
            <pc:docMk/>
            <pc:sldMk cId="1452811939" sldId="287"/>
            <ac:picMk id="11" creationId="{14BE3A98-DFC2-1043-A129-60FDCB98233A}"/>
          </ac:picMkLst>
        </pc:picChg>
      </pc:sldChg>
      <pc:sldChg chg="delSp mod">
        <pc:chgData name="stanley_d_chandra" userId="225be5a7-1db9-44a8-89af-0b6971124d26" providerId="ADAL" clId="{2CF4FD61-6BC2-45E4-BD5D-FA3C30DE13E5}" dt="2023-01-30T01:58:18.096" v="9" actId="478"/>
        <pc:sldMkLst>
          <pc:docMk/>
          <pc:sldMk cId="907337182" sldId="2145706122"/>
        </pc:sldMkLst>
        <pc:picChg chg="del">
          <ac:chgData name="stanley_d_chandra" userId="225be5a7-1db9-44a8-89af-0b6971124d26" providerId="ADAL" clId="{2CF4FD61-6BC2-45E4-BD5D-FA3C30DE13E5}" dt="2023-01-30T01:58:18.096" v="9" actId="478"/>
          <ac:picMkLst>
            <pc:docMk/>
            <pc:sldMk cId="907337182" sldId="2145706122"/>
            <ac:picMk id="61" creationId="{251B6851-F656-FE48-AA5F-F4490BE5744A}"/>
          </ac:picMkLst>
        </pc:picChg>
      </pc:sldChg>
      <pc:sldChg chg="addSp delSp modSp mod">
        <pc:chgData name="stanley_d_chandra" userId="225be5a7-1db9-44a8-89af-0b6971124d26" providerId="ADAL" clId="{2CF4FD61-6BC2-45E4-BD5D-FA3C30DE13E5}" dt="2023-01-30T02:14:04.254" v="131" actId="1076"/>
        <pc:sldMkLst>
          <pc:docMk/>
          <pc:sldMk cId="857669880" sldId="2145706123"/>
        </pc:sldMkLst>
        <pc:spChg chg="add del ord">
          <ac:chgData name="stanley_d_chandra" userId="225be5a7-1db9-44a8-89af-0b6971124d26" providerId="ADAL" clId="{2CF4FD61-6BC2-45E4-BD5D-FA3C30DE13E5}" dt="2023-01-30T02:13:55.474" v="129" actId="478"/>
          <ac:spMkLst>
            <pc:docMk/>
            <pc:sldMk cId="857669880" sldId="2145706123"/>
            <ac:spMk id="3" creationId="{666B77DD-4481-E818-250C-05A58446626D}"/>
          </ac:spMkLst>
        </pc:spChg>
        <pc:spChg chg="ord">
          <ac:chgData name="stanley_d_chandra" userId="225be5a7-1db9-44a8-89af-0b6971124d26" providerId="ADAL" clId="{2CF4FD61-6BC2-45E4-BD5D-FA3C30DE13E5}" dt="2023-01-30T02:13:53.421" v="128" actId="167"/>
          <ac:spMkLst>
            <pc:docMk/>
            <pc:sldMk cId="857669880" sldId="2145706123"/>
            <ac:spMk id="5" creationId="{83F96127-B5C3-2141-A3DC-F32F6758C1B8}"/>
          </ac:spMkLst>
        </pc:spChg>
        <pc:picChg chg="del">
          <ac:chgData name="stanley_d_chandra" userId="225be5a7-1db9-44a8-89af-0b6971124d26" providerId="ADAL" clId="{2CF4FD61-6BC2-45E4-BD5D-FA3C30DE13E5}" dt="2023-01-30T02:11:03.551" v="100" actId="478"/>
          <ac:picMkLst>
            <pc:docMk/>
            <pc:sldMk cId="857669880" sldId="2145706123"/>
            <ac:picMk id="4" creationId="{CD6B2FF1-D3DF-154F-9684-015F2FDB4668}"/>
          </ac:picMkLst>
        </pc:picChg>
        <pc:picChg chg="add mod">
          <ac:chgData name="stanley_d_chandra" userId="225be5a7-1db9-44a8-89af-0b6971124d26" providerId="ADAL" clId="{2CF4FD61-6BC2-45E4-BD5D-FA3C30DE13E5}" dt="2023-01-30T02:14:04.254" v="131" actId="1076"/>
          <ac:picMkLst>
            <pc:docMk/>
            <pc:sldMk cId="857669880" sldId="2145706123"/>
            <ac:picMk id="6" creationId="{5F0F0A46-AADB-35F9-6F1B-FAD8563BEF45}"/>
          </ac:picMkLst>
        </pc:picChg>
        <pc:picChg chg="del">
          <ac:chgData name="stanley_d_chandra" userId="225be5a7-1db9-44a8-89af-0b6971124d26" providerId="ADAL" clId="{2CF4FD61-6BC2-45E4-BD5D-FA3C30DE13E5}" dt="2023-01-30T01:58:21.674" v="11" actId="478"/>
          <ac:picMkLst>
            <pc:docMk/>
            <pc:sldMk cId="857669880" sldId="2145706123"/>
            <ac:picMk id="61" creationId="{251B6851-F656-FE48-AA5F-F4490BE5744A}"/>
          </ac:picMkLst>
        </pc:picChg>
      </pc:sldChg>
      <pc:sldChg chg="del">
        <pc:chgData name="stanley_d_chandra" userId="225be5a7-1db9-44a8-89af-0b6971124d26" providerId="ADAL" clId="{2CF4FD61-6BC2-45E4-BD5D-FA3C30DE13E5}" dt="2023-01-30T01:58:01.174" v="5" actId="47"/>
        <pc:sldMkLst>
          <pc:docMk/>
          <pc:sldMk cId="119898235" sldId="2145706125"/>
        </pc:sldMkLst>
      </pc:sldChg>
      <pc:sldChg chg="delSp modSp add del mod">
        <pc:chgData name="stanley_d_chandra" userId="225be5a7-1db9-44a8-89af-0b6971124d26" providerId="ADAL" clId="{2CF4FD61-6BC2-45E4-BD5D-FA3C30DE13E5}" dt="2023-01-30T02:11:40.973" v="112" actId="207"/>
        <pc:sldMkLst>
          <pc:docMk/>
          <pc:sldMk cId="2837786506" sldId="2145706126"/>
        </pc:sldMkLst>
        <pc:graphicFrameChg chg="modGraphic">
          <ac:chgData name="stanley_d_chandra" userId="225be5a7-1db9-44a8-89af-0b6971124d26" providerId="ADAL" clId="{2CF4FD61-6BC2-45E4-BD5D-FA3C30DE13E5}" dt="2023-01-30T02:11:40.973" v="112" actId="207"/>
          <ac:graphicFrameMkLst>
            <pc:docMk/>
            <pc:sldMk cId="2837786506" sldId="2145706126"/>
            <ac:graphicFrameMk id="2" creationId="{7A046C48-1ED3-2343-9301-CD835C857ED7}"/>
          </ac:graphicFrameMkLst>
        </pc:graphicFrameChg>
        <pc:picChg chg="del">
          <ac:chgData name="stanley_d_chandra" userId="225be5a7-1db9-44a8-89af-0b6971124d26" providerId="ADAL" clId="{2CF4FD61-6BC2-45E4-BD5D-FA3C30DE13E5}" dt="2023-01-30T02:08:12.880" v="94" actId="478"/>
          <ac:picMkLst>
            <pc:docMk/>
            <pc:sldMk cId="2837786506" sldId="2145706126"/>
            <ac:picMk id="61" creationId="{251B6851-F656-FE48-AA5F-F4490BE5744A}"/>
          </ac:picMkLst>
        </pc:picChg>
      </pc:sldChg>
      <pc:sldChg chg="del">
        <pc:chgData name="stanley_d_chandra" userId="225be5a7-1db9-44a8-89af-0b6971124d26" providerId="ADAL" clId="{2CF4FD61-6BC2-45E4-BD5D-FA3C30DE13E5}" dt="2023-01-30T01:58:06.361" v="6" actId="47"/>
        <pc:sldMkLst>
          <pc:docMk/>
          <pc:sldMk cId="361532905" sldId="2145706127"/>
        </pc:sldMkLst>
      </pc:sldChg>
      <pc:sldChg chg="del">
        <pc:chgData name="stanley_d_chandra" userId="225be5a7-1db9-44a8-89af-0b6971124d26" providerId="ADAL" clId="{2CF4FD61-6BC2-45E4-BD5D-FA3C30DE13E5}" dt="2023-01-30T01:57:59.111" v="3" actId="47"/>
        <pc:sldMkLst>
          <pc:docMk/>
          <pc:sldMk cId="1473112033" sldId="2145706128"/>
        </pc:sldMkLst>
      </pc:sldChg>
      <pc:sldChg chg="addSp delSp modSp mod">
        <pc:chgData name="stanley_d_chandra" userId="225be5a7-1db9-44a8-89af-0b6971124d26" providerId="ADAL" clId="{2CF4FD61-6BC2-45E4-BD5D-FA3C30DE13E5}" dt="2023-01-30T02:13:34.804" v="127" actId="478"/>
        <pc:sldMkLst>
          <pc:docMk/>
          <pc:sldMk cId="435886860" sldId="2145706131"/>
        </pc:sldMkLst>
        <pc:spChg chg="add del ord">
          <ac:chgData name="stanley_d_chandra" userId="225be5a7-1db9-44a8-89af-0b6971124d26" providerId="ADAL" clId="{2CF4FD61-6BC2-45E4-BD5D-FA3C30DE13E5}" dt="2023-01-30T02:13:34.804" v="127" actId="478"/>
          <ac:spMkLst>
            <pc:docMk/>
            <pc:sldMk cId="435886860" sldId="2145706131"/>
            <ac:spMk id="2" creationId="{C7D21DEA-0712-56C5-CC5E-69FCF8D347EA}"/>
          </ac:spMkLst>
        </pc:spChg>
        <pc:picChg chg="add del mod">
          <ac:chgData name="stanley_d_chandra" userId="225be5a7-1db9-44a8-89af-0b6971124d26" providerId="ADAL" clId="{2CF4FD61-6BC2-45E4-BD5D-FA3C30DE13E5}" dt="2023-01-30T02:13:22.583" v="120" actId="22"/>
          <ac:picMkLst>
            <pc:docMk/>
            <pc:sldMk cId="435886860" sldId="2145706131"/>
            <ac:picMk id="4" creationId="{55E178CF-AEBA-DB88-E739-BED5A7E129FD}"/>
          </ac:picMkLst>
        </pc:picChg>
        <pc:picChg chg="del">
          <ac:chgData name="stanley_d_chandra" userId="225be5a7-1db9-44a8-89af-0b6971124d26" providerId="ADAL" clId="{2CF4FD61-6BC2-45E4-BD5D-FA3C30DE13E5}" dt="2023-01-30T02:10:21.500" v="97" actId="478"/>
          <ac:picMkLst>
            <pc:docMk/>
            <pc:sldMk cId="435886860" sldId="2145706131"/>
            <ac:picMk id="4" creationId="{AA9FEF1D-BE6C-114F-9D68-E5ECC40F0BE0}"/>
          </ac:picMkLst>
        </pc:picChg>
        <pc:picChg chg="add mod ord">
          <ac:chgData name="stanley_d_chandra" userId="225be5a7-1db9-44a8-89af-0b6971124d26" providerId="ADAL" clId="{2CF4FD61-6BC2-45E4-BD5D-FA3C30DE13E5}" dt="2023-01-30T02:13:33.618" v="126" actId="167"/>
          <ac:picMkLst>
            <pc:docMk/>
            <pc:sldMk cId="435886860" sldId="2145706131"/>
            <ac:picMk id="6" creationId="{23820849-E6EF-9843-4813-4CB71CDA618C}"/>
          </ac:picMkLst>
        </pc:picChg>
        <pc:picChg chg="del">
          <ac:chgData name="stanley_d_chandra" userId="225be5a7-1db9-44a8-89af-0b6971124d26" providerId="ADAL" clId="{2CF4FD61-6BC2-45E4-BD5D-FA3C30DE13E5}" dt="2023-01-30T01:58:19.792" v="10" actId="478"/>
          <ac:picMkLst>
            <pc:docMk/>
            <pc:sldMk cId="435886860" sldId="2145706131"/>
            <ac:picMk id="61" creationId="{251B6851-F656-FE48-AA5F-F4490BE5744A}"/>
          </ac:picMkLst>
        </pc:picChg>
      </pc:sldChg>
      <pc:sldChg chg="del">
        <pc:chgData name="stanley_d_chandra" userId="225be5a7-1db9-44a8-89af-0b6971124d26" providerId="ADAL" clId="{2CF4FD61-6BC2-45E4-BD5D-FA3C30DE13E5}" dt="2023-01-30T01:58:08.250" v="7" actId="47"/>
        <pc:sldMkLst>
          <pc:docMk/>
          <pc:sldMk cId="525386504" sldId="2145706132"/>
        </pc:sldMkLst>
      </pc:sldChg>
      <pc:sldChg chg="del">
        <pc:chgData name="stanley_d_chandra" userId="225be5a7-1db9-44a8-89af-0b6971124d26" providerId="ADAL" clId="{2CF4FD61-6BC2-45E4-BD5D-FA3C30DE13E5}" dt="2023-01-30T01:57:59.898" v="4" actId="47"/>
        <pc:sldMkLst>
          <pc:docMk/>
          <pc:sldMk cId="1059088430" sldId="2145706133"/>
        </pc:sldMkLst>
      </pc:sldChg>
      <pc:sldChg chg="addSp delSp modSp mod">
        <pc:chgData name="stanley_d_chandra" userId="225be5a7-1db9-44a8-89af-0b6971124d26" providerId="ADAL" clId="{2CF4FD61-6BC2-45E4-BD5D-FA3C30DE13E5}" dt="2023-01-30T02:14:13.814" v="135" actId="14100"/>
        <pc:sldMkLst>
          <pc:docMk/>
          <pc:sldMk cId="1797331935" sldId="2145706134"/>
        </pc:sldMkLst>
        <pc:spChg chg="add del ord">
          <ac:chgData name="stanley_d_chandra" userId="225be5a7-1db9-44a8-89af-0b6971124d26" providerId="ADAL" clId="{2CF4FD61-6BC2-45E4-BD5D-FA3C30DE13E5}" dt="2023-01-30T02:14:08.816" v="132" actId="478"/>
          <ac:spMkLst>
            <pc:docMk/>
            <pc:sldMk cId="1797331935" sldId="2145706134"/>
            <ac:spMk id="4" creationId="{25567843-89E2-D118-9308-1CCB98B1BC36}"/>
          </ac:spMkLst>
        </pc:spChg>
        <pc:picChg chg="del">
          <ac:chgData name="stanley_d_chandra" userId="225be5a7-1db9-44a8-89af-0b6971124d26" providerId="ADAL" clId="{2CF4FD61-6BC2-45E4-BD5D-FA3C30DE13E5}" dt="2023-01-30T02:11:59.654" v="115" actId="478"/>
          <ac:picMkLst>
            <pc:docMk/>
            <pc:sldMk cId="1797331935" sldId="2145706134"/>
            <ac:picMk id="3" creationId="{A1BB6EC7-725B-9F0A-D421-4F7D932FA334}"/>
          </ac:picMkLst>
        </pc:picChg>
        <pc:picChg chg="add mod">
          <ac:chgData name="stanley_d_chandra" userId="225be5a7-1db9-44a8-89af-0b6971124d26" providerId="ADAL" clId="{2CF4FD61-6BC2-45E4-BD5D-FA3C30DE13E5}" dt="2023-01-30T02:14:13.814" v="135" actId="14100"/>
          <ac:picMkLst>
            <pc:docMk/>
            <pc:sldMk cId="1797331935" sldId="2145706134"/>
            <ac:picMk id="5" creationId="{1C7A7BE6-3F2B-3616-F92D-B48346E95898}"/>
          </ac:picMkLst>
        </pc:picChg>
        <pc:picChg chg="del">
          <ac:chgData name="stanley_d_chandra" userId="225be5a7-1db9-44a8-89af-0b6971124d26" providerId="ADAL" clId="{2CF4FD61-6BC2-45E4-BD5D-FA3C30DE13E5}" dt="2023-01-30T01:58:25.549" v="13" actId="478"/>
          <ac:picMkLst>
            <pc:docMk/>
            <pc:sldMk cId="1797331935" sldId="2145706134"/>
            <ac:picMk id="61" creationId="{251B6851-F656-FE48-AA5F-F4490BE5744A}"/>
          </ac:picMkLst>
        </pc:picChg>
      </pc:sldChg>
      <pc:sldChg chg="del">
        <pc:chgData name="stanley_d_chandra" userId="225be5a7-1db9-44a8-89af-0b6971124d26" providerId="ADAL" clId="{2CF4FD61-6BC2-45E4-BD5D-FA3C30DE13E5}" dt="2023-01-30T01:57:56.675" v="2" actId="47"/>
        <pc:sldMkLst>
          <pc:docMk/>
          <pc:sldMk cId="619809436" sldId="2145706135"/>
        </pc:sldMkLst>
      </pc:sldChg>
      <pc:sldChg chg="del">
        <pc:chgData name="stanley_d_chandra" userId="225be5a7-1db9-44a8-89af-0b6971124d26" providerId="ADAL" clId="{2CF4FD61-6BC2-45E4-BD5D-FA3C30DE13E5}" dt="2023-01-30T01:57:55.699" v="0" actId="47"/>
        <pc:sldMkLst>
          <pc:docMk/>
          <pc:sldMk cId="249720516" sldId="2145706136"/>
        </pc:sldMkLst>
      </pc:sldChg>
      <pc:sldChg chg="del">
        <pc:chgData name="stanley_d_chandra" userId="225be5a7-1db9-44a8-89af-0b6971124d26" providerId="ADAL" clId="{2CF4FD61-6BC2-45E4-BD5D-FA3C30DE13E5}" dt="2023-01-30T01:57:56.193" v="1" actId="47"/>
        <pc:sldMkLst>
          <pc:docMk/>
          <pc:sldMk cId="2273113447" sldId="2145706137"/>
        </pc:sldMkLst>
      </pc:sldChg>
    </pc:docChg>
  </pc:docChgLst>
</pc:chgInfo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360C58-F875-42F7-B681-B0241BF9B34D}" type="datetimeFigureOut">
              <a:rPr lang="en-US" smtClean="0"/>
              <a:t>1/30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C0F01D-D25D-41D3-8851-B2E1E625D1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55201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E77632-12D1-422D-B7F2-6E613B0620C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29295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C0F01D-D25D-41D3-8851-B2E1E625D11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17492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C0F01D-D25D-41D3-8851-B2E1E625D117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83617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C0F01D-D25D-41D3-8851-B2E1E625D11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92478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C0F01D-D25D-41D3-8851-B2E1E625D11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13657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C0F01D-D25D-41D3-8851-B2E1E625D11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42823"/>
      </p:ext>
    </p:extLst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tags" Target="../tags/tag21.xml"/><Relationship Id="rId2" Type="http://schemas.openxmlformats.org/officeDocument/2006/relationships/tags" Target="../tags/tag22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7" Type="http://schemas.openxmlformats.org/officeDocument/2006/relationships/image" Target="../media/image4.png"/><Relationship Id="rId8" Type="http://schemas.openxmlformats.org/officeDocument/2006/relationships/image" Target="../media/image5.png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tags" Target="../tags/tag23.xml"/><Relationship Id="rId10" Type="http://schemas.openxmlformats.org/officeDocument/2006/relationships/image" Target="../media/image1.emf"/><Relationship Id="rId2" Type="http://schemas.openxmlformats.org/officeDocument/2006/relationships/tags" Target="../tags/tag24.xml"/><Relationship Id="rId3" Type="http://schemas.openxmlformats.org/officeDocument/2006/relationships/tags" Target="../tags/tag25.xml"/><Relationship Id="rId4" Type="http://schemas.openxmlformats.org/officeDocument/2006/relationships/tags" Target="../tags/tag26.xml"/><Relationship Id="rId5" Type="http://schemas.openxmlformats.org/officeDocument/2006/relationships/tags" Target="../tags/tag27.xml"/><Relationship Id="rId6" Type="http://schemas.openxmlformats.org/officeDocument/2006/relationships/tags" Target="../tags/tag28.xml"/><Relationship Id="rId7" Type="http://schemas.openxmlformats.org/officeDocument/2006/relationships/tags" Target="../tags/tag29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3.bin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tags" Target="../tags/tag30.xml"/><Relationship Id="rId2" Type="http://schemas.openxmlformats.org/officeDocument/2006/relationships/tags" Target="../tags/tag31.xml"/><Relationship Id="rId3" Type="http://schemas.openxmlformats.org/officeDocument/2006/relationships/tags" Target="../tags/tag32.xml"/><Relationship Id="rId4" Type="http://schemas.openxmlformats.org/officeDocument/2006/relationships/tags" Target="../tags/tag33.xml"/><Relationship Id="rId5" Type="http://schemas.openxmlformats.org/officeDocument/2006/relationships/slideMaster" Target="../slideMasters/slideMaster2.xml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tags" Target="../tags/tag34.xml"/><Relationship Id="rId2" Type="http://schemas.openxmlformats.org/officeDocument/2006/relationships/tags" Target="../tags/tag35.xml"/><Relationship Id="rId3" Type="http://schemas.openxmlformats.org/officeDocument/2006/relationships/tags" Target="../tags/tag36.xml"/><Relationship Id="rId4" Type="http://schemas.openxmlformats.org/officeDocument/2006/relationships/tags" Target="../tags/tag37.xml"/><Relationship Id="rId5" Type="http://schemas.openxmlformats.org/officeDocument/2006/relationships/slideMaster" Target="../slideMasters/slideMaster2.xml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tags" Target="../tags/tag38.xml"/><Relationship Id="rId2" Type="http://schemas.openxmlformats.org/officeDocument/2006/relationships/tags" Target="../tags/tag39.xml"/><Relationship Id="rId3" Type="http://schemas.openxmlformats.org/officeDocument/2006/relationships/tags" Target="../tags/tag40.xml"/><Relationship Id="rId4" Type="http://schemas.openxmlformats.org/officeDocument/2006/relationships/tags" Target="../tags/tag41.xml"/><Relationship Id="rId5" Type="http://schemas.openxmlformats.org/officeDocument/2006/relationships/slideMaster" Target="../slideMasters/slideMaster2.xml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tags" Target="../tags/tag42.xml"/><Relationship Id="rId2" Type="http://schemas.openxmlformats.org/officeDocument/2006/relationships/tags" Target="../tags/tag43.xml"/><Relationship Id="rId3" Type="http://schemas.openxmlformats.org/officeDocument/2006/relationships/tags" Target="../tags/tag44.xml"/><Relationship Id="rId4" Type="http://schemas.openxmlformats.org/officeDocument/2006/relationships/tags" Target="../tags/tag45.xml"/><Relationship Id="rId5" Type="http://schemas.openxmlformats.org/officeDocument/2006/relationships/tags" Target="../tags/tag46.xml"/><Relationship Id="rId6" Type="http://schemas.openxmlformats.org/officeDocument/2006/relationships/slideMaster" Target="../slideMasters/slideMaster2.xml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tags" Target="../tags/tag47.xml"/><Relationship Id="rId10" Type="http://schemas.openxmlformats.org/officeDocument/2006/relationships/oleObject" Target="../embeddings/oleObject4.bin"/><Relationship Id="rId11" Type="http://schemas.openxmlformats.org/officeDocument/2006/relationships/image" Target="../media/image1.emf"/><Relationship Id="rId2" Type="http://schemas.openxmlformats.org/officeDocument/2006/relationships/tags" Target="../tags/tag48.xml"/><Relationship Id="rId3" Type="http://schemas.openxmlformats.org/officeDocument/2006/relationships/tags" Target="../tags/tag49.xml"/><Relationship Id="rId4" Type="http://schemas.openxmlformats.org/officeDocument/2006/relationships/tags" Target="../tags/tag50.xml"/><Relationship Id="rId5" Type="http://schemas.openxmlformats.org/officeDocument/2006/relationships/tags" Target="../tags/tag51.xml"/><Relationship Id="rId6" Type="http://schemas.openxmlformats.org/officeDocument/2006/relationships/tags" Target="../tags/tag52.xml"/><Relationship Id="rId7" Type="http://schemas.openxmlformats.org/officeDocument/2006/relationships/tags" Target="../tags/tag53.xml"/><Relationship Id="rId8" Type="http://schemas.openxmlformats.org/officeDocument/2006/relationships/tags" Target="../tags/tag54.xml"/><Relationship Id="rId9" Type="http://schemas.openxmlformats.org/officeDocument/2006/relationships/slideMaster" Target="../slideMasters/slideMaster2.xml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tags" Target="../tags/tag55.xml"/><Relationship Id="rId10" Type="http://schemas.openxmlformats.org/officeDocument/2006/relationships/oleObject" Target="../embeddings/oleObject5.bin"/><Relationship Id="rId11" Type="http://schemas.openxmlformats.org/officeDocument/2006/relationships/image" Target="../media/image1.emf"/><Relationship Id="rId2" Type="http://schemas.openxmlformats.org/officeDocument/2006/relationships/tags" Target="../tags/tag56.xml"/><Relationship Id="rId3" Type="http://schemas.openxmlformats.org/officeDocument/2006/relationships/tags" Target="../tags/tag57.xml"/><Relationship Id="rId4" Type="http://schemas.openxmlformats.org/officeDocument/2006/relationships/tags" Target="../tags/tag58.xml"/><Relationship Id="rId5" Type="http://schemas.openxmlformats.org/officeDocument/2006/relationships/tags" Target="../tags/tag59.xml"/><Relationship Id="rId6" Type="http://schemas.openxmlformats.org/officeDocument/2006/relationships/tags" Target="../tags/tag60.xml"/><Relationship Id="rId7" Type="http://schemas.openxmlformats.org/officeDocument/2006/relationships/tags" Target="../tags/tag61.xml"/><Relationship Id="rId8" Type="http://schemas.openxmlformats.org/officeDocument/2006/relationships/tags" Target="../tags/tag62.xml"/><Relationship Id="rId9" Type="http://schemas.openxmlformats.org/officeDocument/2006/relationships/slideMaster" Target="../slideMasters/slideMaster2.xml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'1.0' encoding='UTF-8' standalone='yes'?>
<Relationships xmlns="http://schemas.openxmlformats.org/package/2006/relationships"><Relationship Id="rId1" Type="http://schemas.openxmlformats.org/officeDocument/2006/relationships/tags" Target="../tags/tag63.xml"/><Relationship Id="rId10" Type="http://schemas.openxmlformats.org/officeDocument/2006/relationships/oleObject" Target="../embeddings/oleObject6.bin"/><Relationship Id="rId11" Type="http://schemas.openxmlformats.org/officeDocument/2006/relationships/image" Target="../media/image1.emf"/><Relationship Id="rId2" Type="http://schemas.openxmlformats.org/officeDocument/2006/relationships/tags" Target="../tags/tag64.xml"/><Relationship Id="rId3" Type="http://schemas.openxmlformats.org/officeDocument/2006/relationships/tags" Target="../tags/tag65.xml"/><Relationship Id="rId4" Type="http://schemas.openxmlformats.org/officeDocument/2006/relationships/tags" Target="../tags/tag66.xml"/><Relationship Id="rId5" Type="http://schemas.openxmlformats.org/officeDocument/2006/relationships/tags" Target="../tags/tag67.xml"/><Relationship Id="rId6" Type="http://schemas.openxmlformats.org/officeDocument/2006/relationships/tags" Target="../tags/tag68.xml"/><Relationship Id="rId7" Type="http://schemas.openxmlformats.org/officeDocument/2006/relationships/tags" Target="../tags/tag69.xml"/><Relationship Id="rId8" Type="http://schemas.openxmlformats.org/officeDocument/2006/relationships/tags" Target="../tags/tag70.xml"/><Relationship Id="rId9" Type="http://schemas.openxmlformats.org/officeDocument/2006/relationships/slideMaster" Target="../slideMasters/slideMaster2.xml"/></Relationships>
</file>

<file path=ppt/slideLayouts/_rels/slideLayout21.xml.rels><?xml version='1.0' encoding='UTF-8' standalone='yes'?>
<Relationships xmlns="http://schemas.openxmlformats.org/package/2006/relationships"><Relationship Id="rId1" Type="http://schemas.openxmlformats.org/officeDocument/2006/relationships/tags" Target="../tags/tag71.xml"/><Relationship Id="rId10" Type="http://schemas.openxmlformats.org/officeDocument/2006/relationships/oleObject" Target="../embeddings/oleObject7.bin"/><Relationship Id="rId11" Type="http://schemas.openxmlformats.org/officeDocument/2006/relationships/image" Target="../media/image6.emf"/><Relationship Id="rId2" Type="http://schemas.openxmlformats.org/officeDocument/2006/relationships/tags" Target="../tags/tag72.xml"/><Relationship Id="rId3" Type="http://schemas.openxmlformats.org/officeDocument/2006/relationships/tags" Target="../tags/tag73.xml"/><Relationship Id="rId4" Type="http://schemas.openxmlformats.org/officeDocument/2006/relationships/tags" Target="../tags/tag74.xml"/><Relationship Id="rId5" Type="http://schemas.openxmlformats.org/officeDocument/2006/relationships/tags" Target="../tags/tag75.xml"/><Relationship Id="rId6" Type="http://schemas.openxmlformats.org/officeDocument/2006/relationships/tags" Target="../tags/tag76.xml"/><Relationship Id="rId7" Type="http://schemas.openxmlformats.org/officeDocument/2006/relationships/tags" Target="../tags/tag77.xml"/><Relationship Id="rId8" Type="http://schemas.openxmlformats.org/officeDocument/2006/relationships/tags" Target="../tags/tag78.xml"/><Relationship Id="rId9" Type="http://schemas.openxmlformats.org/officeDocument/2006/relationships/slideMaster" Target="../slideMasters/slideMaster2.xml"/></Relationships>
</file>

<file path=ppt/slideLayouts/_rels/slideLayout22.xml.rels><?xml version='1.0' encoding='UTF-8' standalone='yes'?>
<Relationships xmlns="http://schemas.openxmlformats.org/package/2006/relationships"><Relationship Id="rId1" Type="http://schemas.openxmlformats.org/officeDocument/2006/relationships/tags" Target="../tags/tag79.xml"/><Relationship Id="rId10" Type="http://schemas.openxmlformats.org/officeDocument/2006/relationships/oleObject" Target="../embeddings/oleObject8.bin"/><Relationship Id="rId11" Type="http://schemas.openxmlformats.org/officeDocument/2006/relationships/image" Target="../media/image1.emf"/><Relationship Id="rId2" Type="http://schemas.openxmlformats.org/officeDocument/2006/relationships/tags" Target="../tags/tag80.xml"/><Relationship Id="rId3" Type="http://schemas.openxmlformats.org/officeDocument/2006/relationships/tags" Target="../tags/tag81.xml"/><Relationship Id="rId4" Type="http://schemas.openxmlformats.org/officeDocument/2006/relationships/tags" Target="../tags/tag82.xml"/><Relationship Id="rId5" Type="http://schemas.openxmlformats.org/officeDocument/2006/relationships/tags" Target="../tags/tag83.xml"/><Relationship Id="rId6" Type="http://schemas.openxmlformats.org/officeDocument/2006/relationships/tags" Target="../tags/tag84.xml"/><Relationship Id="rId7" Type="http://schemas.openxmlformats.org/officeDocument/2006/relationships/tags" Target="../tags/tag85.xml"/><Relationship Id="rId8" Type="http://schemas.openxmlformats.org/officeDocument/2006/relationships/tags" Target="../tags/tag86.xml"/><Relationship Id="rId9" Type="http://schemas.openxmlformats.org/officeDocument/2006/relationships/slideMaster" Target="../slideMasters/slideMaster2.xml"/></Relationships>
</file>

<file path=ppt/slideLayouts/_rels/slideLayout23.xml.rels><?xml version='1.0' encoding='UTF-8' standalone='yes'?>
<Relationships xmlns="http://schemas.openxmlformats.org/package/2006/relationships"><Relationship Id="rId1" Type="http://schemas.openxmlformats.org/officeDocument/2006/relationships/tags" Target="../tags/tag87.xml"/><Relationship Id="rId2" Type="http://schemas.openxmlformats.org/officeDocument/2006/relationships/tags" Target="../tags/tag88.xml"/><Relationship Id="rId3" Type="http://schemas.openxmlformats.org/officeDocument/2006/relationships/tags" Target="../tags/tag89.xml"/><Relationship Id="rId4" Type="http://schemas.openxmlformats.org/officeDocument/2006/relationships/tags" Target="../tags/tag90.xml"/><Relationship Id="rId5" Type="http://schemas.openxmlformats.org/officeDocument/2006/relationships/slideMaster" Target="../slideMasters/slideMaster2.xml"/></Relationships>
</file>

<file path=ppt/slideLayouts/_rels/slideLayout24.xml.rels><?xml version='1.0' encoding='UTF-8' standalone='yes'?>
<Relationships xmlns="http://schemas.openxmlformats.org/package/2006/relationships"><Relationship Id="rId1" Type="http://schemas.openxmlformats.org/officeDocument/2006/relationships/tags" Target="../tags/tag91.xml"/><Relationship Id="rId2" Type="http://schemas.openxmlformats.org/officeDocument/2006/relationships/tags" Target="../tags/tag92.xml"/><Relationship Id="rId3" Type="http://schemas.openxmlformats.org/officeDocument/2006/relationships/tags" Target="../tags/tag93.xml"/><Relationship Id="rId4" Type="http://schemas.openxmlformats.org/officeDocument/2006/relationships/slideMaster" Target="../slideMasters/slideMaster2.xml"/></Relationships>
</file>

<file path=ppt/slideLayouts/_rels/slideLayout25.xml.rels><?xml version='1.0' encoding='UTF-8' standalone='yes'?>
<Relationships xmlns="http://schemas.openxmlformats.org/package/2006/relationships"><Relationship Id="rId1" Type="http://schemas.openxmlformats.org/officeDocument/2006/relationships/tags" Target="../tags/tag94.xml"/><Relationship Id="rId10" Type="http://schemas.openxmlformats.org/officeDocument/2006/relationships/image" Target="../media/image1.emf"/><Relationship Id="rId2" Type="http://schemas.openxmlformats.org/officeDocument/2006/relationships/tags" Target="../tags/tag95.xml"/><Relationship Id="rId3" Type="http://schemas.openxmlformats.org/officeDocument/2006/relationships/tags" Target="../tags/tag96.xml"/><Relationship Id="rId4" Type="http://schemas.openxmlformats.org/officeDocument/2006/relationships/tags" Target="../tags/tag97.xml"/><Relationship Id="rId5" Type="http://schemas.openxmlformats.org/officeDocument/2006/relationships/tags" Target="../tags/tag98.xml"/><Relationship Id="rId6" Type="http://schemas.openxmlformats.org/officeDocument/2006/relationships/tags" Target="../tags/tag99.xml"/><Relationship Id="rId7" Type="http://schemas.openxmlformats.org/officeDocument/2006/relationships/tags" Target="../tags/tag100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9.bin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1A8E3B-D09E-4974-8B4A-48C7FF8B5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9C7B308-EC39-4B52-9806-58113D94DF7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6E914E-77C1-4DA5-B70B-1AECFEB69B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1DAAEB-6A02-43C3-A8A0-96CF06EFD735}" type="datetimeFigureOut">
              <a:rPr lang="en-US" smtClean="0"/>
              <a:t>1/3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27D498-C049-4683-BE42-9F9EA0D0EE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854EC5-28D2-48CC-B047-D8C229E7ED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6DE2E-C14B-480F-AFB4-2C3B40BF65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74880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79B3DF-33D2-4986-A129-D11D4DD071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C2E45A4-6FF4-46A6-AA1B-71E3257A962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17B82E-F311-4283-AFDF-2149C63D02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1DAAEB-6A02-43C3-A8A0-96CF06EFD735}" type="datetimeFigureOut">
              <a:rPr lang="en-US" smtClean="0"/>
              <a:t>1/3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3403E0-13A2-4E32-A860-7B7A52B303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0F9CD5-5182-434E-9A2C-DCCB57006F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6DE2E-C14B-480F-AFB4-2C3B40BF65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4321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F7A876C-63C2-4E0C-99E2-83626B33044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59850D6-AD8E-45A8-A17C-7D03BF676F1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095D4C-4152-47ED-A9EB-653EE02C16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1DAAEB-6A02-43C3-A8A0-96CF06EFD735}" type="datetimeFigureOut">
              <a:rPr lang="en-US" smtClean="0"/>
              <a:t>1/3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A2152E-324F-45FD-8368-4993DCBD4B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42C04A-10B4-4289-94D2-B790D68D29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6DE2E-C14B-480F-AFB4-2C3B40BF65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6368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3" y="1624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3" y="1624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124D9FB-F31D-4215-A1DF-35D7BFDA0CF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 lang="x-none"/>
            </a:pPr>
            <a:endParaRPr lang="x-none" sz="800" baseline="0" noProof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448807" y="1426531"/>
            <a:ext cx="90049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x-none" sz="800" b="1" baseline="0" noProof="0">
                <a:solidFill>
                  <a:schemeClr val="tx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448808" y="1552142"/>
            <a:ext cx="381578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US" sz="800" baseline="0" noProof="0">
                <a:solidFill>
                  <a:schemeClr val="tx1"/>
                </a:solidFill>
                <a:latin typeface="+mn-lt"/>
              </a:rPr>
              <a:t>Last Modified 10/2/2020 11:48 AM India Standard Time</a:t>
            </a:r>
            <a:endParaRPr lang="x-none" sz="800" baseline="0" noProof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448807" y="1677755"/>
            <a:ext cx="361899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x-none" sz="800" baseline="0" noProof="0">
                <a:solidFill>
                  <a:schemeClr val="tx1"/>
                </a:solidFill>
                <a:latin typeface="+mn-lt"/>
              </a:rPr>
              <a:t>Printed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48A5DC65-87EA-4796-AAB4-7CF00BA1D6F7}"/>
              </a:ext>
            </a:extLst>
          </p:cNvPr>
          <p:cNvSpPr txBox="1">
            <a:spLocks/>
          </p:cNvSpPr>
          <p:nvPr/>
        </p:nvSpPr>
        <p:spPr>
          <a:xfrm>
            <a:off x="0" y="6095584"/>
            <a:ext cx="12184600" cy="762416"/>
          </a:xfrm>
          <a:prstGeom prst="rect">
            <a:avLst/>
          </a:prstGeom>
          <a:solidFill>
            <a:schemeClr val="tx1">
              <a:alpha val="68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00000"/>
              </a:lnSpc>
            </a:pPr>
            <a:endParaRPr lang="en-US" sz="2100" b="1">
              <a:solidFill>
                <a:schemeClr val="accent2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4C98922-14ED-4A77-9CA4-6BA51E27E0A5}"/>
              </a:ext>
            </a:extLst>
          </p:cNvPr>
          <p:cNvSpPr txBox="1">
            <a:spLocks/>
          </p:cNvSpPr>
          <p:nvPr/>
        </p:nvSpPr>
        <p:spPr>
          <a:xfrm>
            <a:off x="-4808" y="2188725"/>
            <a:ext cx="12196808" cy="1915375"/>
          </a:xfrm>
          <a:prstGeom prst="rect">
            <a:avLst/>
          </a:prstGeom>
          <a:solidFill>
            <a:schemeClr val="bg1">
              <a:alpha val="68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00000"/>
              </a:lnSpc>
            </a:pPr>
            <a:endParaRPr lang="en-US" sz="2100" b="1">
              <a:solidFill>
                <a:schemeClr val="accent2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14" name="Rectangle: Rounded Corners 11">
            <a:extLst>
              <a:ext uri="{FF2B5EF4-FFF2-40B4-BE49-F238E27FC236}">
                <a16:creationId xmlns:a16="http://schemas.microsoft.com/office/drawing/2014/main" id="{845C6587-DE78-44F9-A895-AFEDFE00DF12}"/>
              </a:ext>
            </a:extLst>
          </p:cNvPr>
          <p:cNvSpPr/>
          <p:nvPr/>
        </p:nvSpPr>
        <p:spPr>
          <a:xfrm>
            <a:off x="448809" y="3767875"/>
            <a:ext cx="1893697" cy="207843"/>
          </a:xfrm>
          <a:prstGeom prst="roundRect">
            <a:avLst>
              <a:gd name="adj" fmla="val 50000"/>
            </a:avLst>
          </a:prstGeom>
          <a:solidFill>
            <a:srgbClr val="EB22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400">
              <a:latin typeface="+mn-lt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68F78181-3747-4422-B509-FDDDA6005D4D}"/>
              </a:ext>
            </a:extLst>
          </p:cNvPr>
          <p:cNvSpPr/>
          <p:nvPr/>
        </p:nvSpPr>
        <p:spPr>
          <a:xfrm>
            <a:off x="2404682" y="3760336"/>
            <a:ext cx="1206631" cy="222920"/>
          </a:xfrm>
          <a:prstGeom prst="roundRect">
            <a:avLst>
              <a:gd name="adj" fmla="val 50000"/>
            </a:avLst>
          </a:prstGeom>
          <a:solidFill>
            <a:srgbClr val="FBAF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400">
              <a:latin typeface="+mn-lt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DC57A849-844A-4046-B25A-BA0096270DD3}"/>
              </a:ext>
            </a:extLst>
          </p:cNvPr>
          <p:cNvSpPr/>
          <p:nvPr/>
        </p:nvSpPr>
        <p:spPr>
          <a:xfrm>
            <a:off x="3673488" y="3746567"/>
            <a:ext cx="622168" cy="22292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400">
              <a:latin typeface="+mn-lt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0C62855-A55A-43A1-90A3-746E4D43A04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5254" y="6265304"/>
            <a:ext cx="1421879" cy="415745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B1250AED-0EBD-483F-8483-EDC7076F54FB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3407" y="240987"/>
            <a:ext cx="1489108" cy="647656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99720A59-8622-4E16-8E8A-AFB991C8120D}"/>
              </a:ext>
            </a:extLst>
          </p:cNvPr>
          <p:cNvSpPr txBox="1"/>
          <p:nvPr/>
        </p:nvSpPr>
        <p:spPr>
          <a:xfrm>
            <a:off x="7009186" y="6303898"/>
            <a:ext cx="496482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D" sz="1600">
                <a:solidFill>
                  <a:schemeClr val="bg1"/>
                </a:solidFill>
                <a:latin typeface="+mn-lt"/>
              </a:rPr>
              <a:t>Data Insight &amp; Interface Service Development Group</a:t>
            </a:r>
            <a:endParaRPr lang="id-ID" sz="1400" b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448808" y="3027983"/>
            <a:ext cx="10752593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lang="x-none" sz="1400" cap="none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/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448808" y="2294426"/>
            <a:ext cx="10752593" cy="50244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x-none" sz="3200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448808" y="3401463"/>
            <a:ext cx="1075259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x-none" sz="1400" baseline="0" noProof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22865693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6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accent2">
                  <a:lumMod val="10000"/>
                </a:schemeClr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6704" y="89322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solidFill>
                  <a:schemeClr val="accent2">
                    <a:lumMod val="10000"/>
                  </a:schemeClr>
                </a:solidFill>
              </a:defRPr>
            </a:lvl1pPr>
          </a:lstStyle>
          <a:p>
            <a:pPr lvl="0" algn="r"/>
            <a:r>
              <a:rPr lang="en-US"/>
              <a:t>Chapter › Topic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accent2">
                    <a:lumMod val="10000"/>
                  </a:schemeClr>
                </a:solidFill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935777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accent2">
                  <a:lumMod val="10000"/>
                </a:schemeClr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id="{060F9BBF-7A9F-4997-816D-34BA12217698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7159752" y="89322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solidFill>
                  <a:schemeClr val="accent2">
                    <a:lumMod val="10000"/>
                  </a:schemeClr>
                </a:solidFill>
              </a:defRPr>
            </a:lvl1pPr>
          </a:lstStyle>
          <a:p>
            <a:pPr lvl="0" algn="r"/>
            <a:r>
              <a:rPr lang="en-US"/>
              <a:t>Chapter › Topic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accent2">
                    <a:lumMod val="10000"/>
                  </a:schemeClr>
                </a:solidFill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2797864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1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accent2">
                  <a:lumMod val="10000"/>
                </a:schemeClr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7159752" y="89322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solidFill>
                  <a:schemeClr val="accent2">
                    <a:lumMod val="10000"/>
                  </a:schemeClr>
                </a:solidFill>
              </a:defRPr>
            </a:lvl1pPr>
          </a:lstStyle>
          <a:p>
            <a:pPr lvl="0" algn="r"/>
            <a:r>
              <a:rPr lang="en-US"/>
              <a:t>Chapter › Topic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accent2">
                    <a:lumMod val="10000"/>
                  </a:schemeClr>
                </a:solidFill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3927708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9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accent2">
                  <a:lumMod val="10000"/>
                </a:schemeClr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7156704" y="89322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solidFill>
                  <a:schemeClr val="accent2">
                    <a:lumMod val="10000"/>
                  </a:schemeClr>
                </a:solidFill>
              </a:defRPr>
            </a:lvl1pPr>
          </a:lstStyle>
          <a:p>
            <a:pPr lvl="0" algn="r"/>
            <a:r>
              <a:rPr lang="en-US"/>
              <a:t>Chapter › Topic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accent2">
                    <a:lumMod val="10000"/>
                  </a:schemeClr>
                </a:solidFill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7116436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56230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1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accent2">
                    <a:lumMod val="10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accent2">
                  <a:lumMod val="10000"/>
                </a:schemeClr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2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solidFill>
                  <a:schemeClr val="accent2">
                    <a:lumMod val="10000"/>
                  </a:schemeClr>
                </a:solidFill>
              </a:defRPr>
            </a:lvl1pPr>
          </a:lstStyle>
          <a:p>
            <a:pPr lvl="0" algn="r"/>
            <a:r>
              <a:rPr lang="en-US"/>
              <a:t>Chapter › Topic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accent2">
                    <a:lumMod val="10000"/>
                  </a:schemeClr>
                </a:solidFill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942173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0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F1F1F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accent2">
                  <a:lumMod val="10000"/>
                </a:schemeClr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7159752" y="89322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solidFill>
                  <a:schemeClr val="accent2">
                    <a:lumMod val="10000"/>
                  </a:schemeClr>
                </a:solidFill>
              </a:defRPr>
            </a:lvl1pPr>
          </a:lstStyle>
          <a:p>
            <a:pPr lvl="0" algn="r"/>
            <a:r>
              <a:rPr lang="en-US"/>
              <a:t>Chapter › Topic</a:t>
            </a: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70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rgbClr val="FF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5"/>
            <a:ext cx="2514600" cy="553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accent2">
                    <a:lumMod val="10000"/>
                  </a:schemeClr>
                </a:solidFill>
              </a:defRPr>
            </a:lvl1pPr>
            <a:lvl2pPr marL="457167" indent="0" algn="ctr">
              <a:buNone/>
              <a:defRPr sz="2000"/>
            </a:lvl2pPr>
            <a:lvl3pPr marL="914332" indent="0" algn="ctr">
              <a:buNone/>
              <a:defRPr sz="1800"/>
            </a:lvl3pPr>
            <a:lvl4pPr marL="1371498" indent="0" algn="ctr">
              <a:buNone/>
              <a:defRPr sz="1600"/>
            </a:lvl4pPr>
            <a:lvl5pPr marL="1828664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4" indent="0" algn="ctr">
              <a:buNone/>
              <a:defRPr sz="1600"/>
            </a:lvl7pPr>
            <a:lvl8pPr marL="3200160" indent="0" algn="ctr">
              <a:buNone/>
              <a:defRPr sz="1600"/>
            </a:lvl8pPr>
            <a:lvl9pPr marL="365732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accent2">
                    <a:lumMod val="10000"/>
                  </a:schemeClr>
                </a:solidFill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144912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0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F1F1F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accent2">
                  <a:lumMod val="10000"/>
                </a:schemeClr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7159752" y="89322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solidFill>
                  <a:schemeClr val="accent2">
                    <a:lumMod val="10000"/>
                  </a:schemeClr>
                </a:solidFill>
              </a:defRPr>
            </a:lvl1pPr>
          </a:lstStyle>
          <a:p>
            <a:pPr lvl="0" algn="r"/>
            <a:r>
              <a:rPr lang="en-US"/>
              <a:t>Chapter › Topic</a:t>
            </a: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70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rgbClr val="FF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7" y="3659646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accent2">
                    <a:lumMod val="10000"/>
                  </a:schemeClr>
                </a:solidFill>
              </a:defRPr>
            </a:lvl1pPr>
            <a:lvl2pPr marL="457167" indent="0" algn="ctr">
              <a:buNone/>
              <a:defRPr sz="2000"/>
            </a:lvl2pPr>
            <a:lvl3pPr marL="914332" indent="0" algn="ctr">
              <a:buNone/>
              <a:defRPr sz="1800"/>
            </a:lvl3pPr>
            <a:lvl4pPr marL="1371498" indent="0" algn="ctr">
              <a:buNone/>
              <a:defRPr sz="1600"/>
            </a:lvl4pPr>
            <a:lvl5pPr marL="1828664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4" indent="0" algn="ctr">
              <a:buNone/>
              <a:defRPr sz="1600"/>
            </a:lvl7pPr>
            <a:lvl8pPr marL="3200160" indent="0" algn="ctr">
              <a:buNone/>
              <a:defRPr sz="1600"/>
            </a:lvl8pPr>
            <a:lvl9pPr marL="365732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accent2">
                    <a:lumMod val="10000"/>
                  </a:schemeClr>
                </a:solidFill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7971308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8F35AE-1305-4EC2-A6CB-8A3520DDC6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DEBDFE-E880-44C3-8E2E-778DB25619F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F244BC-4CC1-47BA-B3FF-85DF05B331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1DAAEB-6A02-43C3-A8A0-96CF06EFD735}" type="datetimeFigureOut">
              <a:rPr lang="en-US" smtClean="0"/>
              <a:t>1/3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F1F4AF-0EC1-453A-A4E5-68201EAE83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3AE21D-C0A7-494D-B4E6-8F2D6DAA62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6DE2E-C14B-480F-AFB4-2C3B40BF65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60522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F1F1F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accent2">
                  <a:lumMod val="10000"/>
                </a:schemeClr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884726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accent2">
                    <a:lumMod val="10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2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solidFill>
                  <a:schemeClr val="accent2">
                    <a:lumMod val="10000"/>
                  </a:schemeClr>
                </a:solidFill>
              </a:defRPr>
            </a:lvl1pPr>
          </a:lstStyle>
          <a:p>
            <a:pPr lvl="0" algn="r"/>
            <a:r>
              <a:rPr lang="en-US"/>
              <a:t>Chapter › Topic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accent2">
                    <a:lumMod val="10000"/>
                  </a:schemeClr>
                </a:solidFill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2179010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F1F1F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accent2">
                  <a:lumMod val="10000"/>
                </a:schemeClr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884726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accent2">
                    <a:lumMod val="10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8173371" y="88485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solidFill>
                  <a:schemeClr val="accent2">
                    <a:lumMod val="10000"/>
                  </a:schemeClr>
                </a:solidFill>
              </a:defRPr>
            </a:lvl1pPr>
          </a:lstStyle>
          <a:p>
            <a:pPr lvl="0" algn="r"/>
            <a:r>
              <a:rPr lang="en-US"/>
              <a:t>Chapter › Topic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7" y="6501670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accent2">
                    <a:lumMod val="10000"/>
                  </a:schemeClr>
                </a:solidFill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996163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F1F1F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accent2">
                    <a:lumMod val="10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2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accent2">
                  <a:lumMod val="10000"/>
                </a:schemeClr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9119861" y="89322"/>
            <a:ext cx="252045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solidFill>
                  <a:schemeClr val="accent2">
                    <a:lumMod val="10000"/>
                  </a:schemeClr>
                </a:solidFill>
              </a:defRPr>
            </a:lvl1pPr>
          </a:lstStyle>
          <a:p>
            <a:pPr lvl="0" algn="r"/>
            <a:r>
              <a:rPr lang="en-US"/>
              <a:t>Chapter › Topic</a:t>
            </a: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884726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accent2">
                    <a:lumMod val="10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accent2">
                    <a:lumMod val="10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66042355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accent2">
                  <a:lumMod val="10000"/>
                </a:schemeClr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7156704" y="89322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solidFill>
                  <a:schemeClr val="bg2"/>
                </a:solidFill>
              </a:defRPr>
            </a:lvl1pPr>
          </a:lstStyle>
          <a:p>
            <a:pPr lvl="0" algn="r"/>
            <a:r>
              <a:rPr lang="en-US"/>
              <a:t>Chapter › Topic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accent2">
                    <a:lumMod val="10000"/>
                  </a:schemeClr>
                </a:solidFill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1587053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accent2">
                  <a:lumMod val="10000"/>
                </a:schemeClr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2"/>
            </p:custDataLst>
          </p:nvPr>
        </p:nvSpPr>
        <p:spPr>
          <a:xfrm>
            <a:off x="7159752" y="89322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solidFill>
                  <a:schemeClr val="bg2"/>
                </a:solidFill>
              </a:defRPr>
            </a:lvl1pPr>
          </a:lstStyle>
          <a:p>
            <a:pPr lvl="0" algn="r"/>
            <a:r>
              <a:rPr lang="en-US"/>
              <a:t>Chapter › Topic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accent2">
                    <a:lumMod val="10000"/>
                  </a:schemeClr>
                </a:solidFill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6771856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6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21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469290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B2B57F-1BB5-45C4-A692-BD5C29D792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85E530-B4EA-4DBB-9AF7-51B34FF888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BF9F0E-003A-4675-81E0-698A5CA177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1DAAEB-6A02-43C3-A8A0-96CF06EFD735}" type="datetimeFigureOut">
              <a:rPr lang="en-US" smtClean="0"/>
              <a:t>1/3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064935-B24D-4A2C-A752-8EC7ACF3F2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358910-4473-45A9-9FAD-420CFDFB2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6DE2E-C14B-480F-AFB4-2C3B40BF65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28319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F1A675-912F-43CA-8CD4-99D7A2FF50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963B46-628A-46CB-91FF-43E1FA71DC4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6973281-9C4E-4FCB-AC4E-7520ACF1B4A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7DAD00-DCE0-46DE-A291-A19D0BDF5C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1DAAEB-6A02-43C3-A8A0-96CF06EFD735}" type="datetimeFigureOut">
              <a:rPr lang="en-US" smtClean="0"/>
              <a:t>1/30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1BE1DBA-49FF-4D74-9F01-73980A2DF7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0AD94C4-C56E-43F4-B46A-1B16E1A6AE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6DE2E-C14B-480F-AFB4-2C3B40BF65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83794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EECDDD-54D8-4B4B-8C8C-13F2C8C4D5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7644CC9-4661-442E-B452-530069FC43B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048DA47-9B19-4166-8570-C210B775ED3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7DF52E-09C5-4D2C-8B7A-E1473027850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B832BDE-CC90-45E3-905E-9D90EC69459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DAA9988-079F-45E8-B0EE-B9A3696E6E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1DAAEB-6A02-43C3-A8A0-96CF06EFD735}" type="datetimeFigureOut">
              <a:rPr lang="en-US" smtClean="0"/>
              <a:t>1/30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DB3F1AA-BEAD-4080-9061-38EBBC3101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29135CE-EAAA-4B1C-B951-AECD13D5B9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6DE2E-C14B-480F-AFB4-2C3B40BF65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68098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F17044-75B6-4ECB-B650-00FE67AABF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71CDE19-CB3F-4EF9-8ACC-9406065FA8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1DAAEB-6A02-43C3-A8A0-96CF06EFD735}" type="datetimeFigureOut">
              <a:rPr lang="en-US" smtClean="0"/>
              <a:t>1/30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75B7B5-40E2-45E2-B2B3-4C08DF61BE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ADFC9EA-F568-4408-82CB-727DC5837B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6DE2E-C14B-480F-AFB4-2C3B40BF65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7241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EB3BD0B-3296-4233-A40E-64158A4A6D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1DAAEB-6A02-43C3-A8A0-96CF06EFD735}" type="datetimeFigureOut">
              <a:rPr lang="en-US" smtClean="0"/>
              <a:t>1/30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93162A-3376-47C7-9F37-2A8BB4C982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748EA1-2F5A-4139-BC76-303A7D8149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6DE2E-C14B-480F-AFB4-2C3B40BF65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51394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C7EC4B-89D3-43E1-9890-DFABA813D3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8E9FC1-1FED-4FF8-85CF-C3B2DEF2B7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60F860-3066-4538-95F6-F8506BD99C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44808AC-5789-443A-AFF1-354C677FF5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1DAAEB-6A02-43C3-A8A0-96CF06EFD735}" type="datetimeFigureOut">
              <a:rPr lang="en-US" smtClean="0"/>
              <a:t>1/30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C49E870-626F-4DD5-B162-EE05678624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9CF5FAE-9897-4FC4-8C1D-DE53538A6A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6DE2E-C14B-480F-AFB4-2C3B40BF65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07539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11592E-C8B4-4F69-8DF3-DD89D284AD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41C5AF0-6DE8-4D6B-9291-D542614D39E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364014-C0DA-436C-AFDC-A4EF4832843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A1D8283-2615-41DB-97D4-F6ED521CC6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1DAAEB-6A02-43C3-A8A0-96CF06EFD735}" type="datetimeFigureOut">
              <a:rPr lang="en-US" smtClean="0"/>
              <a:t>1/30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8022E55-B25E-4574-A05A-8704EE0F03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2976C9F-E7C4-4D71-99BD-838E7ECC33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6DE2E-C14B-480F-AFB4-2C3B40BF65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889799"/>
      </p:ext>
    </p:extLst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/Relationships>
</file>

<file path=ppt/slideMasters/_rels/slideMaster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5.xml"/><Relationship Id="rId15" Type="http://schemas.openxmlformats.org/officeDocument/2006/relationships/theme" Target="../theme/theme2.xml"/><Relationship Id="rId16" Type="http://schemas.openxmlformats.org/officeDocument/2006/relationships/tags" Target="../tags/tag1.xml"/><Relationship Id="rId17" Type="http://schemas.openxmlformats.org/officeDocument/2006/relationships/tags" Target="../tags/tag2.xml"/><Relationship Id="rId18" Type="http://schemas.openxmlformats.org/officeDocument/2006/relationships/tags" Target="../tags/tag3.xml"/><Relationship Id="rId19" Type="http://schemas.openxmlformats.org/officeDocument/2006/relationships/tags" Target="../tags/tag4.xml"/><Relationship Id="rId2" Type="http://schemas.openxmlformats.org/officeDocument/2006/relationships/slideLayout" Target="../slideLayouts/slideLayout13.xml"/><Relationship Id="rId20" Type="http://schemas.openxmlformats.org/officeDocument/2006/relationships/tags" Target="../tags/tag5.xml"/><Relationship Id="rId21" Type="http://schemas.openxmlformats.org/officeDocument/2006/relationships/tags" Target="../tags/tag6.xml"/><Relationship Id="rId22" Type="http://schemas.openxmlformats.org/officeDocument/2006/relationships/tags" Target="../tags/tag7.xml"/><Relationship Id="rId23" Type="http://schemas.openxmlformats.org/officeDocument/2006/relationships/tags" Target="../tags/tag8.xml"/><Relationship Id="rId24" Type="http://schemas.openxmlformats.org/officeDocument/2006/relationships/tags" Target="../tags/tag9.xml"/><Relationship Id="rId25" Type="http://schemas.openxmlformats.org/officeDocument/2006/relationships/tags" Target="../tags/tag10.xml"/><Relationship Id="rId26" Type="http://schemas.openxmlformats.org/officeDocument/2006/relationships/tags" Target="../tags/tag11.xml"/><Relationship Id="rId27" Type="http://schemas.openxmlformats.org/officeDocument/2006/relationships/tags" Target="../tags/tag12.xml"/><Relationship Id="rId28" Type="http://schemas.openxmlformats.org/officeDocument/2006/relationships/tags" Target="../tags/tag13.xml"/><Relationship Id="rId29" Type="http://schemas.openxmlformats.org/officeDocument/2006/relationships/tags" Target="../tags/tag14.xml"/><Relationship Id="rId3" Type="http://schemas.openxmlformats.org/officeDocument/2006/relationships/slideLayout" Target="../slideLayouts/slideLayout14.xml"/><Relationship Id="rId30" Type="http://schemas.openxmlformats.org/officeDocument/2006/relationships/tags" Target="../tags/tag15.xml"/><Relationship Id="rId31" Type="http://schemas.openxmlformats.org/officeDocument/2006/relationships/tags" Target="../tags/tag16.xml"/><Relationship Id="rId32" Type="http://schemas.openxmlformats.org/officeDocument/2006/relationships/tags" Target="../tags/tag17.xml"/><Relationship Id="rId33" Type="http://schemas.openxmlformats.org/officeDocument/2006/relationships/tags" Target="../tags/tag18.xml"/><Relationship Id="rId34" Type="http://schemas.openxmlformats.org/officeDocument/2006/relationships/tags" Target="../tags/tag19.xml"/><Relationship Id="rId35" Type="http://schemas.openxmlformats.org/officeDocument/2006/relationships/tags" Target="../tags/tag20.xml"/><Relationship Id="rId36" Type="http://schemas.openxmlformats.org/officeDocument/2006/relationships/oleObject" Target="../embeddings/oleObject1.bin"/><Relationship Id="rId37" Type="http://schemas.openxmlformats.org/officeDocument/2006/relationships/image" Target="../media/image1.emf"/><Relationship Id="rId4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6.xml"/><Relationship Id="rId6" Type="http://schemas.openxmlformats.org/officeDocument/2006/relationships/slideLayout" Target="../slideLayouts/slideLayout17.xml"/><Relationship Id="rId7" Type="http://schemas.openxmlformats.org/officeDocument/2006/relationships/slideLayout" Target="../slideLayouts/slideLayout18.xml"/><Relationship Id="rId8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51EFBB9-8A89-4D1A-9F2A-302A6EF172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9137E4-C5FA-4934-A000-5AA3587358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B0D195-F48B-4B42-A50C-5229F36125D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1DAAEB-6A02-43C3-A8A0-96CF06EFD735}" type="datetimeFigureOut">
              <a:rPr lang="en-US" smtClean="0"/>
              <a:t>1/3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26D5C1C-26B8-4D07-AB01-9D24F746D8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367486-348D-49C4-AB24-5D8D100069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16DE2E-C14B-480F-AFB4-2C3B40BF651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81E1A09-FA45-97FF-7520-96336828EBE7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0" y="6736080"/>
            <a:ext cx="347663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183706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413" imgH="416" progId="TCLayout.ActiveDocument.1">
                  <p:embed/>
                </p:oleObj>
              </mc:Choice>
              <mc:Fallback>
                <p:oleObj name="think-cell Slide" r:id="rId3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0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>
          <a:xfrm>
            <a:off x="553972" y="627903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0"/>
            </p:custDataLst>
          </p:nvPr>
        </p:nvGrpSpPr>
        <p:grpSpPr>
          <a:xfrm>
            <a:off x="1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400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54312" y="204219"/>
            <a:ext cx="984867" cy="1583587"/>
            <a:chOff x="9585951" y="2988702"/>
            <a:chExt cx="984866" cy="1700091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err="1">
                <a:solidFill>
                  <a:schemeClr val="bg2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err="1">
                <a:solidFill>
                  <a:schemeClr val="bg2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err="1">
                <a:solidFill>
                  <a:schemeClr val="bg2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err="1">
                <a:solidFill>
                  <a:schemeClr val="bg2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err="1">
                <a:solidFill>
                  <a:schemeClr val="bg2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8702"/>
              <a:ext cx="658720" cy="19825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>
                  <a:solidFill>
                    <a:schemeClr val="bg2"/>
                  </a:solidFill>
                </a:rPr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68200"/>
              <a:ext cx="658718" cy="19825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>
                  <a:solidFill>
                    <a:schemeClr val="bg2"/>
                  </a:solidFill>
                </a:rPr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47697"/>
              <a:ext cx="658718" cy="19825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>
                  <a:solidFill>
                    <a:schemeClr val="bg2"/>
                  </a:solidFill>
                </a:rPr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9118"/>
              <a:ext cx="658718" cy="19825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>
                  <a:solidFill>
                    <a:schemeClr val="bg2"/>
                  </a:solidFill>
                </a:rPr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90541"/>
              <a:ext cx="653112" cy="19825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>
                  <a:solidFill>
                    <a:schemeClr val="bg2"/>
                  </a:solidFill>
                </a:rPr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10754306" y="191174"/>
            <a:ext cx="952383" cy="161133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1" y="1718299"/>
              <a:ext cx="670985" cy="198478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>
                  <a:solidFill>
                    <a:schemeClr val="bg2"/>
                  </a:solidFill>
                </a:rPr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1" y="2093758"/>
              <a:ext cx="670985" cy="198478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>
                  <a:solidFill>
                    <a:schemeClr val="bg2"/>
                  </a:solidFill>
                </a:rPr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1" y="2469217"/>
              <a:ext cx="670985" cy="198478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>
                  <a:solidFill>
                    <a:schemeClr val="bg2"/>
                  </a:solidFill>
                </a:rPr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1" y="2844676"/>
              <a:ext cx="670985" cy="198478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>
                  <a:solidFill>
                    <a:schemeClr val="bg2"/>
                  </a:solidFill>
                </a:rPr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1" y="3220138"/>
              <a:ext cx="670985" cy="198478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>
                  <a:solidFill>
                    <a:schemeClr val="bg2"/>
                  </a:solidFill>
                </a:rPr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4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201" y="1289273"/>
            <a:ext cx="430503" cy="156966"/>
            <a:chOff x="8456447" y="272180"/>
            <a:chExt cx="322861" cy="156935"/>
          </a:xfrm>
          <a:noFill/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861" cy="156935"/>
            </a:xfrm>
            <a:prstGeom prst="leftRightArrow">
              <a:avLst>
                <a:gd name="adj1" fmla="val 100000"/>
                <a:gd name="adj2" fmla="val 0"/>
              </a:avLst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30">
                <a:buClr>
                  <a:schemeClr val="tx2"/>
                </a:buClr>
              </a:pPr>
              <a:r>
                <a:rPr lang="en-US" sz="900" b="1" spc="51">
                  <a:ln w="3175">
                    <a:noFill/>
                  </a:ln>
                  <a:solidFill>
                    <a:schemeClr val="accent2">
                      <a:lumMod val="10000"/>
                    </a:schemeClr>
                  </a:solidFill>
                </a:rPr>
                <a:t>Sticker</a:t>
              </a:r>
              <a:endParaRPr lang="en-US" sz="800" baseline="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15"/>
              <a:ext cx="322861" cy="0"/>
            </a:xfrm>
            <a:prstGeom prst="straightConnector1">
              <a:avLst/>
            </a:prstGeom>
            <a:grpFill/>
            <a:ln w="6350">
              <a:solidFill>
                <a:schemeClr val="tx1"/>
              </a:solidFill>
              <a:round/>
              <a:headEnd/>
              <a:tailEnd/>
            </a:ln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367930" y="3301673"/>
            <a:ext cx="1269335" cy="958287"/>
            <a:chOff x="4372690" y="3739100"/>
            <a:chExt cx="1269335" cy="958287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0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latin typeface="+mn-lt"/>
                <a:ea typeface="+mn-ea"/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E479A147-B416-3714-C4B0-1428015C3418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0" y="6736080"/>
            <a:ext cx="347663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34462911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sz="2500" b="0" kern="1200" spc="0" baseline="0">
          <a:ln w="6350" cap="flat">
            <a:noFill/>
            <a:miter lim="800000"/>
          </a:ln>
          <a:solidFill>
            <a:srgbClr val="FF0000"/>
          </a:solidFill>
          <a:latin typeface="+mn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594" indent="-225420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4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26" indent="-287331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32" indent="-182558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377" indent="-136522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24" indent="-171446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24" indent="-171446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24" indent="-171446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24" indent="-171446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7.jpeg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2.xml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8.png"/><Relationship Id="rId4" Type="http://schemas.openxmlformats.org/officeDocument/2006/relationships/image" Target="../media/image10.jpg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8.png"/><Relationship Id="rId4" Type="http://schemas.openxmlformats.org/officeDocument/2006/relationships/image" Target="../media/image11.png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5.xml"/></Relationships>
</file>

<file path=ppt/slides/_rels/slide6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6.xml"/><Relationship Id="rId3" Type="http://schemas.openxmlformats.org/officeDocument/2006/relationships/image" Target="../media/image9.png"/><Relationship Id="rId4" Type="http://schemas.openxmlformats.org/officeDocument/2006/relationships/image" Target="../media/image8.png"/><Relationship Id="rId5" Type="http://schemas.openxmlformats.org/officeDocument/2006/relationships/image" Target="../media/image12.jpg"/><Relationship Id="rId6" Type="http://schemas.openxmlformats.org/officeDocument/2006/relationships/image" Target="../media/image13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Graphs on a display with reflection of office">
            <a:extLst>
              <a:ext uri="{FF2B5EF4-FFF2-40B4-BE49-F238E27FC236}">
                <a16:creationId xmlns:a16="http://schemas.microsoft.com/office/drawing/2014/main" id="{DDEC3134-BE87-47E4-BC84-D95851CF1CA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289512" cy="6858000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1477747A-BC4D-4257-ADC1-D44126FBBDD1}"/>
              </a:ext>
            </a:extLst>
          </p:cNvPr>
          <p:cNvSpPr/>
          <p:nvPr/>
        </p:nvSpPr>
        <p:spPr>
          <a:xfrm>
            <a:off x="6718366" y="-390386"/>
            <a:ext cx="9966960" cy="98176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BB3CCCF6-DAD9-472F-B343-23533D8EFD10}"/>
              </a:ext>
            </a:extLst>
          </p:cNvPr>
          <p:cNvSpPr txBox="1">
            <a:spLocks/>
          </p:cNvSpPr>
          <p:nvPr/>
        </p:nvSpPr>
        <p:spPr>
          <a:xfrm>
            <a:off x="7268699" y="1679384"/>
            <a:ext cx="4229034" cy="349923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00000"/>
              </a:lnSpc>
            </a:pPr>
            <a:r>
              <a:rPr sz="3200" b="1">
                <a:solidFill>
                  <a:srgbClr val="100C08"/>
                </a:solidFill>
                <a:latin typeface="Segoe UI"/>
              </a:rPr>
              <a:t>Automating x
Weekly Report
With Python
Stanley</a:t>
            </a:r>
          </a:p>
        </p:txBody>
      </p:sp>
    </p:spTree>
    <p:extLst>
      <p:ext uri="{BB962C8B-B14F-4D97-AF65-F5344CB8AC3E}">
        <p14:creationId xmlns:p14="http://schemas.microsoft.com/office/powerpoint/2010/main" val="14528119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5">
            <a:extLst>
              <a:ext uri="{FF2B5EF4-FFF2-40B4-BE49-F238E27FC236}">
                <a16:creationId xmlns:a16="http://schemas.microsoft.com/office/drawing/2014/main" id="{52758496-8303-4D0C-BA9E-5C2300C73EC0}"/>
              </a:ext>
            </a:extLst>
          </p:cNvPr>
          <p:cNvSpPr txBox="1">
            <a:spLocks/>
          </p:cNvSpPr>
          <p:nvPr/>
        </p:nvSpPr>
        <p:spPr>
          <a:xfrm>
            <a:off x="253042" y="203670"/>
            <a:ext cx="11097126" cy="6749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sz="2200" b="1">
                <a:solidFill>
                  <a:srgbClr val="100C08"/>
                </a:solidFill>
                <a:latin typeface="Century Gothic"/>
              </a:rPr>
              <a:t>Agenda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68114BB-F72F-2949-AF79-ACB2CCCADD59}"/>
              </a:ext>
            </a:extLst>
          </p:cNvPr>
          <p:cNvSpPr txBox="1"/>
          <p:nvPr/>
        </p:nvSpPr>
        <p:spPr>
          <a:xfrm>
            <a:off x="253042" y="894690"/>
            <a:ext cx="10481094" cy="25326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  <a:defRPr sz="1800">
                <a:solidFill>
                  <a:srgbClr val="100C08"/>
                </a:solidFill>
                <a:latin typeface="Century Gothic"/>
              </a:defRPr>
            </a:pPr>
            <a:r>
              <a:t>Dataset summary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  <a:defRPr sz="1800">
                <a:solidFill>
                  <a:srgbClr val="100C08"/>
                </a:solidFill>
                <a:latin typeface="Century Gothic"/>
              </a:defRPr>
            </a:pPr>
            <a:r>
              <a:t>Model v2 development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  <a:defRPr sz="1800">
                <a:solidFill>
                  <a:srgbClr val="100C08"/>
                </a:solidFill>
                <a:latin typeface="Century Gothic"/>
              </a:defRPr>
            </a:pPr>
            <a:r>
              <a:t>Methodology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  <a:defRPr sz="1800">
                <a:solidFill>
                  <a:srgbClr val="100C08"/>
                </a:solidFill>
                <a:latin typeface="Century Gothic"/>
              </a:defRPr>
            </a:pPr>
            <a:r>
              <a:t>Model selection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  <a:defRPr sz="1800">
                <a:solidFill>
                  <a:srgbClr val="100C08"/>
                </a:solidFill>
                <a:latin typeface="Century Gothic"/>
              </a:defRPr>
            </a:pPr>
            <a:r>
              <a:t>Feature importance - SHAP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  <a:defRPr sz="1800">
                <a:solidFill>
                  <a:srgbClr val="100C08"/>
                </a:solidFill>
                <a:latin typeface="Century Gothic"/>
              </a:defRPr>
            </a:pPr>
            <a:r>
              <a:t>Performance comparison: Model v1 vs Model v2</a:t>
            </a:r>
          </a:p>
        </p:txBody>
      </p:sp>
    </p:spTree>
    <p:extLst>
      <p:ext uri="{BB962C8B-B14F-4D97-AF65-F5344CB8AC3E}">
        <p14:creationId xmlns:p14="http://schemas.microsoft.com/office/powerpoint/2010/main" val="9073371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5">
            <a:extLst>
              <a:ext uri="{FF2B5EF4-FFF2-40B4-BE49-F238E27FC236}">
                <a16:creationId xmlns:a16="http://schemas.microsoft.com/office/drawing/2014/main" id="{52758496-8303-4D0C-BA9E-5C2300C73EC0}"/>
              </a:ext>
            </a:extLst>
          </p:cNvPr>
          <p:cNvSpPr txBox="1">
            <a:spLocks/>
          </p:cNvSpPr>
          <p:nvPr/>
        </p:nvSpPr>
        <p:spPr>
          <a:xfrm>
            <a:off x="253042" y="203670"/>
            <a:ext cx="11097126" cy="6749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 sz="2200" b="1">
                <a:solidFill>
                  <a:srgbClr val="100C08"/>
                </a:solidFill>
                <a:latin typeface="Century Gothic"/>
              </a:defRPr>
            </a:pPr>
            <a:r>
              <a:t>Dataset Summar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39DA072-70B4-8B4D-9204-8753DA0D0FD4}"/>
              </a:ext>
            </a:extLst>
          </p:cNvPr>
          <p:cNvSpPr txBox="1"/>
          <p:nvPr/>
        </p:nvSpPr>
        <p:spPr>
          <a:xfrm>
            <a:off x="391065" y="878666"/>
            <a:ext cx="10481094" cy="10208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 sz="1400">
                <a:solidFill>
                  <a:srgbClr val="100C08"/>
                </a:solidFill>
                <a:latin typeface="Century Gothic"/>
              </a:defRPr>
            </a:pPr>
            <a:r>
              <a:t>Development sample: (202101 to 202104) and 202107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 sz="1400">
                <a:solidFill>
                  <a:srgbClr val="100C08"/>
                </a:solidFill>
                <a:latin typeface="Century Gothic"/>
              </a:defRPr>
            </a:pPr>
            <a:r>
              <a:t>Covid testing sample: 202105 to 202106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 sz="1400">
                <a:solidFill>
                  <a:srgbClr val="100C08"/>
                </a:solidFill>
                <a:latin typeface="Century Gothic"/>
              </a:defRPr>
            </a:pPr>
            <a:r>
              <a:t>OOT sample: 202108 to 202109</a:t>
            </a:r>
          </a:p>
        </p:txBody>
      </p:sp>
      <p:pic>
        <p:nvPicPr>
          <p:cNvPr id="10" name="Picture 9" descr="slide3_1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5760" y="2286000"/>
            <a:ext cx="4846320" cy="1741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58868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83F96127-B5C3-2141-A3DC-F32F6758C1B8}"/>
              </a:ext>
            </a:extLst>
          </p:cNvPr>
          <p:cNvSpPr txBox="1"/>
          <p:nvPr/>
        </p:nvSpPr>
        <p:spPr>
          <a:xfrm>
            <a:off x="391065" y="878666"/>
            <a:ext cx="10481094" cy="4979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 sz="1400">
                <a:solidFill>
                  <a:srgbClr val="100C08"/>
                </a:solidFill>
                <a:latin typeface="Century Gothic"/>
              </a:defRPr>
            </a:pPr>
            <a:r>
              <a:t>Time based cross-validatio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400" dirty="0">
              <a:latin typeface="Century Gothic" panose="020B0502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400" dirty="0">
              <a:latin typeface="Century Gothic" panose="020B0502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400" dirty="0">
              <a:latin typeface="Century Gothic" panose="020B0502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400" dirty="0">
              <a:latin typeface="Century Gothic" panose="020B0502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400" dirty="0">
              <a:latin typeface="Century Gothic" panose="020B0502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400" dirty="0">
              <a:latin typeface="Century Gothic" panose="020B0502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400" dirty="0">
              <a:latin typeface="Century Gothic" panose="020B0502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 sz="1400">
                <a:solidFill>
                  <a:srgbClr val="100C08"/>
                </a:solidFill>
                <a:latin typeface="Century Gothic"/>
              </a:defRPr>
            </a:pPr>
            <a:r>
              <a:t>Each fold: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 sz="1400">
                <a:solidFill>
                  <a:srgbClr val="100C08"/>
                </a:solidFill>
                <a:latin typeface="Century Gothic"/>
              </a:defRPr>
            </a:pPr>
            <a:r>
              <a:t>Shifts forward 1 weekstart</a:t>
            </a:r>
            <a:endParaRPr lang="en-US" sz="1400" dirty="0">
              <a:latin typeface="Century Gothic" panose="020B0502020202020204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 sz="1400">
                <a:solidFill>
                  <a:srgbClr val="100C08"/>
                </a:solidFill>
                <a:latin typeface="Century Gothic"/>
              </a:defRPr>
            </a:pPr>
            <a:r>
              <a:t>Has n week_train (blue)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 sz="1400">
                <a:solidFill>
                  <a:srgbClr val="100C08"/>
                </a:solidFill>
                <a:latin typeface="Century Gothic"/>
              </a:defRPr>
            </a:pPr>
            <a:r>
              <a:t>Has m week_test (orange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 sz="1400">
                <a:solidFill>
                  <a:srgbClr val="100C08"/>
                </a:solidFill>
                <a:latin typeface="Century Gothic"/>
              </a:defRPr>
            </a:pPr>
            <a:r>
              <a:t>Last n weekstart will be used for final model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 sz="1400">
                <a:solidFill>
                  <a:srgbClr val="100C08"/>
                </a:solidFill>
                <a:latin typeface="Century Gothic"/>
              </a:defRPr>
            </a:pPr>
            <a:r>
              <a:t>Only using development sample typ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 sz="1400">
                <a:solidFill>
                  <a:srgbClr val="100C08"/>
                </a:solidFill>
                <a:latin typeface="Century Gothic"/>
              </a:defRPr>
            </a:pPr>
            <a:r>
              <a:t>Weekstart: [2020-12-28 to 2021-04-26] and [2021-06-28 to 2021-07-26]</a:t>
            </a:r>
            <a:endParaRPr lang="en-US" sz="1400" dirty="0">
              <a:latin typeface="Century Gothic" panose="020B0502020202020204" pitchFamily="34" charset="0"/>
            </a:endParaRPr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52758496-8303-4D0C-BA9E-5C2300C73EC0}"/>
              </a:ext>
            </a:extLst>
          </p:cNvPr>
          <p:cNvSpPr txBox="1">
            <a:spLocks/>
          </p:cNvSpPr>
          <p:nvPr/>
        </p:nvSpPr>
        <p:spPr>
          <a:xfrm>
            <a:off x="253042" y="203670"/>
            <a:ext cx="11097126" cy="6749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 sz="2200" b="1">
                <a:solidFill>
                  <a:srgbClr val="100C08"/>
                </a:solidFill>
                <a:latin typeface="Century Gothic"/>
              </a:defRPr>
            </a:pPr>
            <a:r>
              <a:t>Model v2 Development – methodology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DDAB4C6-2BCC-E64D-9203-1C822F60D48C}"/>
              </a:ext>
            </a:extLst>
          </p:cNvPr>
          <p:cNvSpPr txBox="1"/>
          <p:nvPr/>
        </p:nvSpPr>
        <p:spPr>
          <a:xfrm>
            <a:off x="2251495" y="2993366"/>
            <a:ext cx="8367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err="1"/>
              <a:t>Weekstart</a:t>
            </a:r>
            <a:endParaRPr lang="en-US" sz="1100" b="1"/>
          </a:p>
        </p:txBody>
      </p:sp>
      <p:pic>
        <p:nvPicPr>
          <p:cNvPr id="8" name="Picture 7" descr="image-20220422-071652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1520" y="1371600"/>
            <a:ext cx="3840480" cy="2170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76698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5">
            <a:extLst>
              <a:ext uri="{FF2B5EF4-FFF2-40B4-BE49-F238E27FC236}">
                <a16:creationId xmlns:a16="http://schemas.microsoft.com/office/drawing/2014/main" id="{52758496-8303-4D0C-BA9E-5C2300C73EC0}"/>
              </a:ext>
            </a:extLst>
          </p:cNvPr>
          <p:cNvSpPr txBox="1">
            <a:spLocks/>
          </p:cNvSpPr>
          <p:nvPr/>
        </p:nvSpPr>
        <p:spPr>
          <a:xfrm>
            <a:off x="253042" y="203670"/>
            <a:ext cx="11097126" cy="6749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 sz="2200" b="1">
                <a:solidFill>
                  <a:srgbClr val="100C08"/>
                </a:solidFill>
                <a:latin typeface="Century Gothic"/>
              </a:defRPr>
            </a:pPr>
            <a:r>
              <a:t>Model v2 Development – model selection</a:t>
            </a:r>
          </a:p>
        </p:txBody>
      </p:sp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7A046C48-1ED3-2343-9301-CD835C857E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1595446"/>
              </p:ext>
            </p:extLst>
          </p:nvPr>
        </p:nvGraphicFramePr>
        <p:xfrm>
          <a:off x="253041" y="878666"/>
          <a:ext cx="10029646" cy="4372056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652164">
                  <a:extLst>
                    <a:ext uri="{9D8B030D-6E8A-4147-A177-3AD203B41FA5}">
                      <a16:colId xmlns:a16="http://schemas.microsoft.com/office/drawing/2014/main" val="414927284"/>
                    </a:ext>
                  </a:extLst>
                </a:gridCol>
                <a:gridCol w="2502893">
                  <a:extLst>
                    <a:ext uri="{9D8B030D-6E8A-4147-A177-3AD203B41FA5}">
                      <a16:colId xmlns:a16="http://schemas.microsoft.com/office/drawing/2014/main" val="3145359864"/>
                    </a:ext>
                  </a:extLst>
                </a:gridCol>
                <a:gridCol w="1449238">
                  <a:extLst>
                    <a:ext uri="{9D8B030D-6E8A-4147-A177-3AD203B41FA5}">
                      <a16:colId xmlns:a16="http://schemas.microsoft.com/office/drawing/2014/main" val="288824585"/>
                    </a:ext>
                  </a:extLst>
                </a:gridCol>
                <a:gridCol w="1121023">
                  <a:extLst>
                    <a:ext uri="{9D8B030D-6E8A-4147-A177-3AD203B41FA5}">
                      <a16:colId xmlns:a16="http://schemas.microsoft.com/office/drawing/2014/main" val="385938518"/>
                    </a:ext>
                  </a:extLst>
                </a:gridCol>
                <a:gridCol w="1652164">
                  <a:extLst>
                    <a:ext uri="{9D8B030D-6E8A-4147-A177-3AD203B41FA5}">
                      <a16:colId xmlns:a16="http://schemas.microsoft.com/office/drawing/2014/main" val="2316154995"/>
                    </a:ext>
                  </a:extLst>
                </a:gridCol>
                <a:gridCol w="1652164">
                  <a:extLst>
                    <a:ext uri="{9D8B030D-6E8A-4147-A177-3AD203B41FA5}">
                      <a16:colId xmlns:a16="http://schemas.microsoft.com/office/drawing/2014/main" val="322841656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z="1400">
                          <a:solidFill>
                            <a:srgbClr val="100C08"/>
                          </a:solidFill>
                          <a:latin typeface="Century Gothic" panose="020B0502020202020204" pitchFamily="34" charset="0"/>
                        </a:rPr>
                        <a:t>Model confi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sz="1400">
                          <a:solidFill>
                            <a:srgbClr val="100C08"/>
                          </a:solidFill>
                          <a:latin typeface="Century Gothic"/>
                        </a:rPr>
                        <a:t>Number of featur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z="1400">
                          <a:solidFill>
                            <a:srgbClr val="100C08"/>
                          </a:solidFill>
                          <a:latin typeface="Century Gothic" panose="020B0502020202020204" pitchFamily="34" charset="0"/>
                        </a:rPr>
                        <a:t>Mean GIN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z="1400">
                          <a:solidFill>
                            <a:srgbClr val="100C08"/>
                          </a:solidFill>
                          <a:latin typeface="Century Gothic" panose="020B0502020202020204" pitchFamily="34" charset="0"/>
                        </a:rPr>
                        <a:t>ST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z="1400">
                          <a:solidFill>
                            <a:srgbClr val="100C08"/>
                          </a:solidFill>
                          <a:latin typeface="Century Gothic" panose="020B0502020202020204" pitchFamily="34" charset="0"/>
                        </a:rPr>
                        <a:t>Train GIN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z="1400">
                          <a:solidFill>
                            <a:srgbClr val="100C08"/>
                          </a:solidFill>
                          <a:latin typeface="Century Gothic" panose="020B0502020202020204" pitchFamily="34" charset="0"/>
                        </a:rPr>
                        <a:t>Covid testing GIN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44136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100C08"/>
                          </a:solidFill>
                          <a:latin typeface="Century Gothic" panose="020B0502020202020204" pitchFamily="34" charset="0"/>
                        </a:rPr>
                        <a:t>No calibr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100C08"/>
                          </a:solidFill>
                          <a:latin typeface="Century Gothic" panose="020B0502020202020204" pitchFamily="34" charset="0"/>
                        </a:rPr>
                        <a:t>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100C08"/>
                          </a:solidFill>
                          <a:latin typeface="Century Gothic" panose="020B0502020202020204" pitchFamily="34" charset="0"/>
                        </a:rPr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b="0" i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b="0" i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rgbClr val="100C08"/>
                          </a:solidFill>
                          <a:latin typeface="Century Gothic" panose="020B0502020202020204" pitchFamily="34" charset="0"/>
                        </a:rPr>
                        <a:t>0.350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67843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ID" sz="1400" b="0" i="0" dirty="0">
                          <a:solidFill>
                            <a:srgbClr val="100C08"/>
                          </a:solidFill>
                          <a:latin typeface="Century Gothic" panose="020B0502020202020204" pitchFamily="34" charset="0"/>
                        </a:rPr>
                        <a:t>model_1 (as baseline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 b="0" i="0" dirty="0">
                          <a:solidFill>
                            <a:srgbClr val="100C08"/>
                          </a:solidFill>
                          <a:latin typeface="Century Gothic" panose="020B0502020202020204" pitchFamily="34" charset="0"/>
                        </a:rPr>
                        <a:t>21 (current model feature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 b="0" i="0" dirty="0">
                          <a:solidFill>
                            <a:srgbClr val="100C08"/>
                          </a:solidFill>
                          <a:latin typeface="Century Gothic" panose="020B0502020202020204" pitchFamily="34" charset="0"/>
                        </a:rPr>
                        <a:t>0.38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 b="0" i="0" dirty="0">
                          <a:solidFill>
                            <a:srgbClr val="100C08"/>
                          </a:solidFill>
                          <a:latin typeface="Century Gothic" panose="020B0502020202020204" pitchFamily="34" charset="0"/>
                        </a:rPr>
                        <a:t>0.00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 b="0" i="0" dirty="0">
                          <a:solidFill>
                            <a:srgbClr val="100C08"/>
                          </a:solidFill>
                          <a:latin typeface="Century Gothic" panose="020B0502020202020204" pitchFamily="34" charset="0"/>
                        </a:rPr>
                        <a:t>0.4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 b="0" i="0" dirty="0">
                          <a:solidFill>
                            <a:srgbClr val="100C08"/>
                          </a:solidFill>
                          <a:latin typeface="Century Gothic" panose="020B0502020202020204" pitchFamily="34" charset="0"/>
                        </a:rPr>
                        <a:t>0.3709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487866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100C08"/>
                          </a:solidFill>
                          <a:effectLst/>
                          <a:latin typeface="Century Gothic" panose="020B0502020202020204" pitchFamily="34" charset="0"/>
                        </a:rPr>
                        <a:t>model_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100C08"/>
                          </a:solidFill>
                          <a:effectLst/>
                          <a:latin typeface="Century Gothic" panose="020B0502020202020204" pitchFamily="34" charset="0"/>
                        </a:rPr>
                        <a:t>5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100C08"/>
                          </a:solidFill>
                          <a:effectLst/>
                          <a:latin typeface="Century Gothic" panose="020B0502020202020204" pitchFamily="34" charset="0"/>
                        </a:rPr>
                        <a:t>0.4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100C08"/>
                          </a:solidFill>
                          <a:effectLst/>
                          <a:latin typeface="Century Gothic" panose="020B0502020202020204" pitchFamily="34" charset="0"/>
                        </a:rPr>
                        <a:t>0.0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sz="1400">
                          <a:solidFill>
                            <a:srgbClr val="100C08"/>
                          </a:solidFill>
                          <a:latin typeface="Century Gothic"/>
                        </a:rPr>
                        <a:t>0.49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100C08"/>
                          </a:solidFill>
                          <a:effectLst/>
                          <a:latin typeface="Century Gothic" panose="020B0502020202020204" pitchFamily="34" charset="0"/>
                        </a:rPr>
                        <a:t>0.404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490841404"/>
                  </a:ext>
                </a:extLst>
              </a:tr>
              <a:tr h="487128"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100C08"/>
                          </a:solidFill>
                          <a:effectLst/>
                          <a:latin typeface="Century Gothic" panose="020B0502020202020204" pitchFamily="34" charset="0"/>
                        </a:rPr>
                        <a:t>model_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100C08"/>
                          </a:solidFill>
                          <a:effectLst/>
                          <a:latin typeface="Century Gothic" panose="020B0502020202020204" pitchFamily="34" charset="0"/>
                        </a:rPr>
                        <a:t>4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100C08"/>
                          </a:solidFill>
                          <a:effectLst/>
                          <a:latin typeface="Century Gothic" panose="020B0502020202020204" pitchFamily="34" charset="0"/>
                        </a:rPr>
                        <a:t>0.4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100C08"/>
                          </a:solidFill>
                          <a:effectLst/>
                          <a:latin typeface="Century Gothic" panose="020B0502020202020204" pitchFamily="34" charset="0"/>
                        </a:rPr>
                        <a:t>0.0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100C08"/>
                          </a:solidFill>
                          <a:effectLst/>
                          <a:latin typeface="Century Gothic" panose="020B0502020202020204" pitchFamily="34" charset="0"/>
                        </a:rPr>
                        <a:t>0.48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100C08"/>
                          </a:solidFill>
                          <a:effectLst/>
                          <a:latin typeface="Century Gothic" panose="020B0502020202020204" pitchFamily="34" charset="0"/>
                        </a:rPr>
                        <a:t>0.403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8535513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100C08"/>
                          </a:solidFill>
                          <a:effectLst/>
                          <a:latin typeface="Century Gothic" panose="020B0502020202020204" pitchFamily="34" charset="0"/>
                        </a:rPr>
                        <a:t>model_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100C08"/>
                          </a:solidFill>
                          <a:effectLst/>
                          <a:latin typeface="Century Gothic" panose="020B0502020202020204" pitchFamily="34" charset="0"/>
                        </a:rPr>
                        <a:t>3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100C08"/>
                          </a:solidFill>
                          <a:effectLst/>
                          <a:latin typeface="Century Gothic" panose="020B0502020202020204" pitchFamily="34" charset="0"/>
                        </a:rPr>
                        <a:t>0.4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100C08"/>
                          </a:solidFill>
                          <a:effectLst/>
                          <a:latin typeface="Century Gothic" panose="020B0502020202020204" pitchFamily="34" charset="0"/>
                        </a:rPr>
                        <a:t>0.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100C08"/>
                          </a:solidFill>
                          <a:effectLst/>
                          <a:latin typeface="Century Gothic" panose="020B0502020202020204" pitchFamily="34" charset="0"/>
                        </a:rPr>
                        <a:t>0.48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100C08"/>
                          </a:solidFill>
                          <a:effectLst/>
                          <a:latin typeface="Century Gothic" panose="020B0502020202020204" pitchFamily="34" charset="0"/>
                        </a:rPr>
                        <a:t>0.400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7193329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100C08"/>
                          </a:solidFill>
                          <a:effectLst/>
                          <a:latin typeface="Century Gothic" panose="020B0502020202020204" pitchFamily="34" charset="0"/>
                        </a:rPr>
                        <a:t>model_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100C08"/>
                          </a:solidFill>
                          <a:effectLst/>
                          <a:latin typeface="Century Gothic" panose="020B0502020202020204" pitchFamily="34" charset="0"/>
                        </a:rPr>
                        <a:t>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100C08"/>
                          </a:solidFill>
                          <a:effectLst/>
                          <a:latin typeface="Century Gothic" panose="020B0502020202020204" pitchFamily="34" charset="0"/>
                        </a:rPr>
                        <a:t>0.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100C08"/>
                          </a:solidFill>
                          <a:effectLst/>
                          <a:latin typeface="Century Gothic" panose="020B0502020202020204" pitchFamily="34" charset="0"/>
                        </a:rPr>
                        <a:t>0.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100C08"/>
                          </a:solidFill>
                          <a:effectLst/>
                          <a:latin typeface="Century Gothic" panose="020B0502020202020204" pitchFamily="34" charset="0"/>
                        </a:rPr>
                        <a:t>0.48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100C08"/>
                          </a:solidFill>
                          <a:effectLst/>
                          <a:latin typeface="Century Gothic" panose="020B0502020202020204" pitchFamily="34" charset="0"/>
                        </a:rPr>
                        <a:t>0.398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6742973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100C08"/>
                          </a:solidFill>
                          <a:effectLst/>
                          <a:latin typeface="Century Gothic" panose="020B0502020202020204" pitchFamily="34" charset="0"/>
                        </a:rPr>
                        <a:t>model_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100C08"/>
                          </a:solidFill>
                          <a:effectLst/>
                          <a:latin typeface="Century Gothic" panose="020B0502020202020204" pitchFamily="34" charset="0"/>
                        </a:rPr>
                        <a:t>2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100C08"/>
                          </a:solidFill>
                          <a:effectLst/>
                          <a:latin typeface="Century Gothic" panose="020B0502020202020204" pitchFamily="34" charset="0"/>
                        </a:rPr>
                        <a:t>0.39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100C08"/>
                          </a:solidFill>
                          <a:effectLst/>
                          <a:latin typeface="Century Gothic" panose="020B0502020202020204" pitchFamily="34" charset="0"/>
                        </a:rPr>
                        <a:t>0.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100C08"/>
                          </a:solidFill>
                          <a:effectLst/>
                          <a:latin typeface="Century Gothic" panose="020B0502020202020204" pitchFamily="34" charset="0"/>
                        </a:rPr>
                        <a:t>0.47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100C08"/>
                          </a:solidFill>
                          <a:effectLst/>
                          <a:latin typeface="Century Gothic" panose="020B0502020202020204" pitchFamily="34" charset="0"/>
                        </a:rPr>
                        <a:t>0.396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07958806"/>
                  </a:ext>
                </a:extLst>
              </a:tr>
              <a:tr h="370839"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ID" sz="1400" b="0" i="0" u="none" strike="noStrike" noProof="0" dirty="0">
                          <a:solidFill>
                            <a:srgbClr val="100C08"/>
                          </a:solidFill>
                          <a:effectLst/>
                          <a:latin typeface="Century Gothic" panose="020B0502020202020204" pitchFamily="34" charset="0"/>
                        </a:rPr>
                        <a:t>model_7</a:t>
                      </a:r>
                      <a:endParaRPr lang="en-ID" sz="1400" b="0" i="0" u="none" strike="noStrike" noProof="0" dirty="0"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4" marR="9524" marT="9524" marB="0" anchor="b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ID" sz="1400" b="0" i="0" u="none" strike="noStrike" dirty="0">
                          <a:solidFill>
                            <a:srgbClr val="100C08"/>
                          </a:solidFill>
                          <a:effectLst/>
                          <a:latin typeface="Century Gothic" panose="020B0502020202020204" pitchFamily="34" charset="0"/>
                        </a:rPr>
                        <a:t>25 </a:t>
                      </a:r>
                      <a:r>
                        <a:rPr lang="en-ID" sz="1400" b="0" i="0" u="none" strike="noStrike" noProof="0" dirty="0">
                          <a:solidFill>
                            <a:srgbClr val="100C08"/>
                          </a:solidFill>
                          <a:effectLst/>
                          <a:latin typeface="Century Gothic" panose="020B0502020202020204" pitchFamily="34" charset="0"/>
                        </a:rPr>
                        <a:t>(remove high correlated features from model_4)</a:t>
                      </a:r>
                      <a:endParaRPr lang="en-ID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4" marR="9524" marT="9524" marB="0" anchor="b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ID" sz="1400" b="0" i="0" u="none" strike="noStrike" dirty="0">
                          <a:solidFill>
                            <a:srgbClr val="100C08"/>
                          </a:solidFill>
                          <a:effectLst/>
                          <a:latin typeface="Century Gothic" panose="020B0502020202020204" pitchFamily="34" charset="0"/>
                        </a:rPr>
                        <a:t>0.399</a:t>
                      </a:r>
                    </a:p>
                  </a:txBody>
                  <a:tcPr marL="9524" marR="9524" marT="9524" marB="0" anchor="b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ID" sz="1400" b="0" i="0" u="none" strike="noStrike" dirty="0">
                          <a:solidFill>
                            <a:srgbClr val="100C08"/>
                          </a:solidFill>
                          <a:effectLst/>
                          <a:latin typeface="Century Gothic" panose="020B0502020202020204" pitchFamily="34" charset="0"/>
                        </a:rPr>
                        <a:t>0.009</a:t>
                      </a:r>
                    </a:p>
                  </a:txBody>
                  <a:tcPr marL="9524" marR="9524" marT="9524" marB="0" anchor="b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ID" sz="1400" b="0" i="0" u="none" strike="noStrike" dirty="0">
                          <a:solidFill>
                            <a:srgbClr val="100C08"/>
                          </a:solidFill>
                          <a:effectLst/>
                          <a:latin typeface="Century Gothic" panose="020B0502020202020204" pitchFamily="34" charset="0"/>
                        </a:rPr>
                        <a:t>0.482</a:t>
                      </a:r>
                    </a:p>
                  </a:txBody>
                  <a:tcPr marL="9524" marR="9524" marT="9524" marB="0" anchor="b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ID" sz="1400" b="0" i="0" u="none" strike="noStrike" dirty="0">
                          <a:solidFill>
                            <a:srgbClr val="100C08"/>
                          </a:solidFill>
                          <a:effectLst/>
                          <a:latin typeface="Century Gothic" panose="020B0502020202020204" pitchFamily="34" charset="0"/>
                        </a:rPr>
                        <a:t>0.3977</a:t>
                      </a:r>
                    </a:p>
                  </a:txBody>
                  <a:tcPr marL="9524" marR="9524" marT="9524" marB="0" anchor="b"/>
                </a:tc>
                <a:extLst>
                  <a:ext uri="{0D108BD9-81ED-4DB2-BD59-A6C34878D82A}">
                    <a16:rowId xmlns:a16="http://schemas.microsoft.com/office/drawing/2014/main" val="1619692713"/>
                  </a:ext>
                </a:extLst>
              </a:tr>
              <a:tr h="258173"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ID" sz="1400" b="0" i="0" u="none" strike="noStrike" noProof="0" dirty="0">
                          <a:solidFill>
                            <a:srgbClr val="100C08"/>
                          </a:solidFill>
                          <a:effectLst/>
                          <a:latin typeface="Century Gothic" panose="020B0502020202020204" pitchFamily="34" charset="0"/>
                        </a:rPr>
                        <a:t>model_8</a:t>
                      </a:r>
                    </a:p>
                  </a:txBody>
                  <a:tcPr marL="9524" marR="9524" marT="9524" marB="0" anchor="b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ID" sz="1400" b="0" i="0" u="none" strike="noStrike" dirty="0">
                          <a:solidFill>
                            <a:srgbClr val="100C08"/>
                          </a:solidFill>
                          <a:effectLst/>
                          <a:latin typeface="Century Gothic" panose="020B0502020202020204" pitchFamily="34" charset="0"/>
                        </a:rPr>
                        <a:t>17 </a:t>
                      </a:r>
                      <a:r>
                        <a:rPr lang="en-ID" sz="1400" b="0" i="0" u="none" strike="noStrike" noProof="0" dirty="0">
                          <a:solidFill>
                            <a:srgbClr val="100C08"/>
                          </a:solidFill>
                          <a:effectLst/>
                          <a:latin typeface="Century Gothic" panose="020B0502020202020204" pitchFamily="34" charset="0"/>
                        </a:rPr>
                        <a:t>(remove high correlated features from model_6)</a:t>
                      </a:r>
                      <a:endParaRPr lang="en-ID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4" marR="9524" marT="9524" marB="0" anchor="b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ID" sz="1400" b="0" i="0" u="none" strike="noStrike" dirty="0">
                          <a:solidFill>
                            <a:srgbClr val="100C08"/>
                          </a:solidFill>
                          <a:effectLst/>
                          <a:latin typeface="Century Gothic" panose="020B0502020202020204" pitchFamily="34" charset="0"/>
                        </a:rPr>
                        <a:t>0.395</a:t>
                      </a:r>
                    </a:p>
                  </a:txBody>
                  <a:tcPr marL="9524" marR="9524" marT="9524" marB="0" anchor="b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ID" sz="1400" b="0" i="0" u="none" strike="noStrike" dirty="0">
                          <a:solidFill>
                            <a:srgbClr val="100C08"/>
                          </a:solidFill>
                          <a:effectLst/>
                          <a:latin typeface="Century Gothic" panose="020B0502020202020204" pitchFamily="34" charset="0"/>
                        </a:rPr>
                        <a:t>0.009</a:t>
                      </a:r>
                    </a:p>
                  </a:txBody>
                  <a:tcPr marL="9524" marR="9524" marT="9524" marB="0" anchor="b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ID" sz="1400" b="0" i="0" u="none" strike="noStrike" dirty="0">
                          <a:solidFill>
                            <a:srgbClr val="100C08"/>
                          </a:solidFill>
                          <a:effectLst/>
                          <a:latin typeface="Century Gothic" panose="020B0502020202020204" pitchFamily="34" charset="0"/>
                        </a:rPr>
                        <a:t>0.471</a:t>
                      </a:r>
                    </a:p>
                  </a:txBody>
                  <a:tcPr marL="9524" marR="9524" marT="9524" marB="0" anchor="b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ID" sz="1400" b="0" i="0" u="none" strike="noStrike" dirty="0">
                          <a:solidFill>
                            <a:srgbClr val="100C08"/>
                          </a:solidFill>
                          <a:effectLst/>
                          <a:latin typeface="Century Gothic" panose="020B0502020202020204" pitchFamily="34" charset="0"/>
                        </a:rPr>
                        <a:t>0.3937</a:t>
                      </a:r>
                    </a:p>
                  </a:txBody>
                  <a:tcPr marL="9524" marR="9524" marT="9524" marB="0" anchor="b"/>
                </a:tc>
                <a:extLst>
                  <a:ext uri="{0D108BD9-81ED-4DB2-BD59-A6C34878D82A}">
                    <a16:rowId xmlns:a16="http://schemas.microsoft.com/office/drawing/2014/main" val="3077799428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A15D8701-8EBA-2E45-AA13-AC397B1E7D9B}"/>
              </a:ext>
            </a:extLst>
          </p:cNvPr>
          <p:cNvSpPr txBox="1"/>
          <p:nvPr/>
        </p:nvSpPr>
        <p:spPr>
          <a:xfrm>
            <a:off x="320560" y="5447345"/>
            <a:ext cx="9969261" cy="86972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 sz="1800">
                <a:solidFill>
                  <a:srgbClr val="100C08"/>
                </a:solidFill>
                <a:latin typeface="Century Gothic"/>
              </a:defRPr>
            </a:pPr>
            <a:r>
              <a:t>Considering the trade-off between performance and number of features, we recommend model_8 as the selected model for production</a:t>
            </a:r>
          </a:p>
        </p:txBody>
      </p:sp>
    </p:spTree>
    <p:extLst>
      <p:ext uri="{BB962C8B-B14F-4D97-AF65-F5344CB8AC3E}">
        <p14:creationId xmlns:p14="http://schemas.microsoft.com/office/powerpoint/2010/main" val="28377865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5">
            <a:extLst>
              <a:ext uri="{FF2B5EF4-FFF2-40B4-BE49-F238E27FC236}">
                <a16:creationId xmlns:a16="http://schemas.microsoft.com/office/drawing/2014/main" id="{52758496-8303-4D0C-BA9E-5C2300C73EC0}"/>
              </a:ext>
            </a:extLst>
          </p:cNvPr>
          <p:cNvSpPr txBox="1">
            <a:spLocks/>
          </p:cNvSpPr>
          <p:nvPr/>
        </p:nvSpPr>
        <p:spPr>
          <a:xfrm>
            <a:off x="253042" y="203670"/>
            <a:ext cx="11097126" cy="6749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 sz="2200" b="1">
                <a:solidFill>
                  <a:srgbClr val="100C08"/>
                </a:solidFill>
                <a:latin typeface="Century Gothic"/>
              </a:defRPr>
            </a:pPr>
            <a:r>
              <a:t>Performance comparison – GINI per month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3234ECC-8D3A-A643-9A3A-3046DC31492C}"/>
              </a:ext>
            </a:extLst>
          </p:cNvPr>
          <p:cNvSpPr txBox="1"/>
          <p:nvPr/>
        </p:nvSpPr>
        <p:spPr>
          <a:xfrm>
            <a:off x="253042" y="792000"/>
            <a:ext cx="10481094" cy="37439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50000"/>
              </a:lnSpc>
              <a:defRPr sz="1400" b="1" u="sng">
                <a:solidFill>
                  <a:srgbClr val="100C08"/>
                </a:solidFill>
                <a:latin typeface="Century Gothic"/>
              </a:defRPr>
            </a:pPr>
            <a:r>
              <a:t>No calibration vs model_1 (baseline) vs model_8</a:t>
            </a:r>
            <a:endParaRPr lang="en-US" sz="1400" b="1" u="sng" dirty="0">
              <a:latin typeface="Century Gothic" panose="020B0502020202020204" pitchFamily="34" charset="0"/>
            </a:endParaRPr>
          </a:p>
        </p:txBody>
      </p:sp>
      <p:pic>
        <p:nvPicPr>
          <p:cNvPr id="9" name="Picture 8" descr="slide11_2.jp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0040" y="2926080"/>
            <a:ext cx="7077456" cy="3581593"/>
          </a:xfrm>
          <a:prstGeom prst="rect">
            <a:avLst/>
          </a:prstGeom>
        </p:spPr>
      </p:pic>
      <p:pic>
        <p:nvPicPr>
          <p:cNvPr id="10" name="Picture 9" descr="slide11_1.jp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0040" y="1188720"/>
            <a:ext cx="5897880" cy="1762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3319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BESUpNSi6CwgLEpigeW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White">
  <a:themeElements>
    <a:clrScheme name="Client template">
      <a:dk1>
        <a:srgbClr val="141414"/>
      </a:dk1>
      <a:lt1>
        <a:srgbClr val="FFFFFF"/>
      </a:lt1>
      <a:dk2>
        <a:srgbClr val="FF0000"/>
      </a:dk2>
      <a:lt2>
        <a:srgbClr val="FFFFFF"/>
      </a:lt2>
      <a:accent1>
        <a:srgbClr val="FF0000"/>
      </a:accent1>
      <a:accent2>
        <a:srgbClr val="F5D2C8"/>
      </a:accent2>
      <a:accent3>
        <a:srgbClr val="CDCDCD"/>
      </a:accent3>
      <a:accent4>
        <a:srgbClr val="909090"/>
      </a:accent4>
      <a:accent5>
        <a:srgbClr val="CB0E14"/>
      </a:accent5>
      <a:accent6>
        <a:srgbClr val="FF6600"/>
      </a:accent6>
      <a:hlink>
        <a:srgbClr val="CB0E14"/>
      </a:hlink>
      <a:folHlink>
        <a:srgbClr val="909090"/>
      </a:folHlink>
    </a:clrScheme>
    <a:fontScheme name="Scheme 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71D2F1"/>
    </a:custClr>
    <a:custClr name="Linear 6 (Pale Blue)">
      <a:srgbClr val="AAE6F0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OneFirm-English (United States)-Wide.potx" id="{CD3B6C7C-F15B-47B1-B280-E3B59305230B}" vid="{FFA8EDA0-E9F9-4C65-BDFD-3DBFFF2FF17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</TotalTime>
  <Words>271</Words>
  <Application>Microsoft Office PowerPoint</Application>
  <PresentationFormat>Widescreen</PresentationFormat>
  <Paragraphs>100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6" baseType="lpstr">
      <vt:lpstr>Arial</vt:lpstr>
      <vt:lpstr>Calibri</vt:lpstr>
      <vt:lpstr>Calibri Light</vt:lpstr>
      <vt:lpstr>Century Gothic</vt:lpstr>
      <vt:lpstr>Georgia</vt:lpstr>
      <vt:lpstr>Segoe UI</vt:lpstr>
      <vt:lpstr>Wingdings</vt:lpstr>
      <vt:lpstr>Office Theme</vt:lpstr>
      <vt:lpstr>1_Whit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fardi_a_pasha</dc:creator>
  <cp:lastModifiedBy>stanley_d_chandra</cp:lastModifiedBy>
  <cp:revision>44</cp:revision>
  <dcterms:created xsi:type="dcterms:W3CDTF">2021-03-02T02:29:07Z</dcterms:created>
  <dcterms:modified xsi:type="dcterms:W3CDTF">2023-01-30T02:14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d5caaddc-90a0-4995-b524-c269e4395a58_Enabled">
    <vt:lpwstr>true</vt:lpwstr>
  </property>
  <property fmtid="{D5CDD505-2E9C-101B-9397-08002B2CF9AE}" pid="3" name="MSIP_Label_d5caaddc-90a0-4995-b524-c269e4395a58_SetDate">
    <vt:lpwstr>2022-04-14T08:28:05Z</vt:lpwstr>
  </property>
  <property fmtid="{D5CDD505-2E9C-101B-9397-08002B2CF9AE}" pid="4" name="MSIP_Label_d5caaddc-90a0-4995-b524-c269e4395a58_Method">
    <vt:lpwstr>Standard</vt:lpwstr>
  </property>
  <property fmtid="{D5CDD505-2E9C-101B-9397-08002B2CF9AE}" pid="5" name="MSIP_Label_d5caaddc-90a0-4995-b524-c269e4395a58_Name">
    <vt:lpwstr>Internal</vt:lpwstr>
  </property>
  <property fmtid="{D5CDD505-2E9C-101B-9397-08002B2CF9AE}" pid="6" name="MSIP_Label_d5caaddc-90a0-4995-b524-c269e4395a58_SiteId">
    <vt:lpwstr>fc743075-93ed-4a5c-82c0-ca5eac914220</vt:lpwstr>
  </property>
  <property fmtid="{D5CDD505-2E9C-101B-9397-08002B2CF9AE}" pid="7" name="MSIP_Label_d5caaddc-90a0-4995-b524-c269e4395a58_ActionId">
    <vt:lpwstr>5b938f24-90ba-4548-8bff-9135de444274</vt:lpwstr>
  </property>
  <property fmtid="{D5CDD505-2E9C-101B-9397-08002B2CF9AE}" pid="8" name="MSIP_Label_d5caaddc-90a0-4995-b524-c269e4395a58_ContentBits">
    <vt:lpwstr>2</vt:lpwstr>
  </property>
  <property fmtid="{D5CDD505-2E9C-101B-9397-08002B2CF9AE}" pid="9" name="ClassificationContentMarkingFooterLocations">
    <vt:lpwstr>Office Theme:8\1_White:5</vt:lpwstr>
  </property>
  <property fmtid="{D5CDD505-2E9C-101B-9397-08002B2CF9AE}" pid="10" name="ClassificationContentMarkingFooterText">
    <vt:lpwstr>Internal</vt:lpwstr>
  </property>
</Properties>
</file>